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5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6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8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9.xml" ContentType="application/vnd.openxmlformats-officedocument.theme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20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21.xml" ContentType="application/vnd.openxmlformats-officedocument.theme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2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2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59" r:id="rId5"/>
    <p:sldMasterId id="2147483771" r:id="rId6"/>
    <p:sldMasterId id="2147483806" r:id="rId7"/>
    <p:sldMasterId id="2147483818" r:id="rId8"/>
    <p:sldMasterId id="2147483836" r:id="rId9"/>
    <p:sldMasterId id="2147483850" r:id="rId10"/>
    <p:sldMasterId id="2147484225" r:id="rId11"/>
    <p:sldMasterId id="2147484353" r:id="rId12"/>
    <p:sldMasterId id="2147484366" r:id="rId13"/>
    <p:sldMasterId id="2147484410" r:id="rId14"/>
    <p:sldMasterId id="2147484513" r:id="rId15"/>
    <p:sldMasterId id="2147484525" r:id="rId16"/>
    <p:sldMasterId id="2147484719" r:id="rId17"/>
    <p:sldMasterId id="2147484765" r:id="rId18"/>
    <p:sldMasterId id="2147484777" r:id="rId19"/>
    <p:sldMasterId id="2147484801" r:id="rId20"/>
    <p:sldMasterId id="2147484866" r:id="rId21"/>
    <p:sldMasterId id="2147484878" r:id="rId22"/>
    <p:sldMasterId id="2147484890" r:id="rId23"/>
    <p:sldMasterId id="2147485039" r:id="rId24"/>
    <p:sldMasterId id="2147485207" r:id="rId25"/>
    <p:sldMasterId id="2147485227" r:id="rId26"/>
  </p:sldMasterIdLst>
  <p:notesMasterIdLst>
    <p:notesMasterId r:id="rId31"/>
  </p:notesMasterIdLst>
  <p:handoutMasterIdLst>
    <p:handoutMasterId r:id="rId32"/>
  </p:handoutMasterIdLst>
  <p:sldIdLst>
    <p:sldId id="762" r:id="rId27"/>
    <p:sldId id="753" r:id="rId28"/>
    <p:sldId id="827" r:id="rId29"/>
    <p:sldId id="755" r:id="rId30"/>
  </p:sldIdLst>
  <p:sldSz cx="24382413" cy="13716000"/>
  <p:notesSz cx="6735763" cy="9866313"/>
  <p:defaultTextStyle>
    <a:defPPr>
      <a:defRPr lang="nb-NO"/>
    </a:defPPr>
    <a:lvl1pPr marL="0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1pPr>
    <a:lvl2pPr marL="891914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2pPr>
    <a:lvl3pPr marL="1783774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3pPr>
    <a:lvl4pPr marL="2675650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4pPr>
    <a:lvl5pPr marL="3567543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5pPr>
    <a:lvl6pPr marL="4459434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6pPr>
    <a:lvl7pPr marL="5351341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7pPr>
    <a:lvl8pPr marL="6243217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8pPr>
    <a:lvl9pPr marL="7135098" algn="l" defTabSz="1783774" rtl="0" eaLnBrk="1" latinLnBrk="0" hangingPunct="1">
      <a:defRPr sz="3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79">
          <p15:clr>
            <a:srgbClr val="A4A3A4"/>
          </p15:clr>
        </p15:guide>
        <p15:guide id="3" pos="76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nga Nordberg" initials="I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1C1C1"/>
    <a:srgbClr val="FFFFFF"/>
    <a:srgbClr val="000000"/>
    <a:srgbClr val="EEEEEE"/>
    <a:srgbClr val="0169E8"/>
    <a:srgbClr val="B2B2B2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6858" autoAdjust="0"/>
    <p:restoredTop sz="98757" autoAdjust="0"/>
  </p:normalViewPr>
  <p:slideViewPr>
    <p:cSldViewPr snapToGrid="0">
      <p:cViewPr varScale="1">
        <p:scale>
          <a:sx n="37" d="100"/>
          <a:sy n="37" d="100"/>
        </p:scale>
        <p:origin x="966" y="54"/>
      </p:cViewPr>
      <p:guideLst>
        <p:guide orient="horz" pos="4320"/>
        <p:guide pos="7679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7" d="100"/>
        <a:sy n="47" d="100"/>
      </p:scale>
      <p:origin x="0" y="28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BBFB4-D8BC-4E5C-BFA5-AD857A7A5D17}" type="datetimeFigureOut">
              <a:rPr lang="nb-NO" smtClean="0"/>
              <a:t>03.04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4E8E6F-E014-44C6-AC25-327589FEAE4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74082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B253DE-7D71-4444-B83E-23771FDD0C33}" type="datetimeFigureOut">
              <a:rPr lang="en-GB" smtClean="0"/>
              <a:t>03/04/2019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1F1791-49DA-4A11-A71B-4DEDB48C96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65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6005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91960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37891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83857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29831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75786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21745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67724" algn="l" defTabSz="8919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11.png"/><Relationship Id="rId9" Type="http://schemas.openxmlformats.org/officeDocument/2006/relationships/image" Target="../media/image7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11.png"/><Relationship Id="rId9" Type="http://schemas.openxmlformats.org/officeDocument/2006/relationships/image" Target="../media/image7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12" Type="http://schemas.openxmlformats.org/officeDocument/2006/relationships/image" Target="../media/image2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11" Type="http://schemas.openxmlformats.org/officeDocument/2006/relationships/image" Target="../media/image25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7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12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11" Type="http://schemas.openxmlformats.org/officeDocument/2006/relationships/image" Target="../media/image25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.png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4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8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9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8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0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6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6.pn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6.png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.png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11.png"/><Relationship Id="rId9" Type="http://schemas.openxmlformats.org/officeDocument/2006/relationships/image" Target="../media/image7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7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3.png"/><Relationship Id="rId12" Type="http://schemas.openxmlformats.org/officeDocument/2006/relationships/image" Target="../media/image2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11" Type="http://schemas.openxmlformats.org/officeDocument/2006/relationships/image" Target="../media/image25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5.png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5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5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6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7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8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9.bin"/></Relationships>
</file>

<file path=ppt/slideLayouts/_rels/slideLayout2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7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3.png"/><Relationship Id="rId12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11" Type="http://schemas.openxmlformats.org/officeDocument/2006/relationships/image" Target="../media/image25.png"/><Relationship Id="rId5" Type="http://schemas.openxmlformats.org/officeDocument/2006/relationships/image" Target="../media/image22.emf"/><Relationship Id="rId10" Type="http://schemas.microsoft.com/office/2007/relationships/hdphoto" Target="../media/hdphoto1.wdp"/><Relationship Id="rId4" Type="http://schemas.openxmlformats.org/officeDocument/2006/relationships/oleObject" Target="../embeddings/oleObject30.bin"/><Relationship Id="rId9" Type="http://schemas.openxmlformats.org/officeDocument/2006/relationships/image" Target="../media/image5.png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1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3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4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5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6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8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7.bin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8.bin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6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11.png"/><Relationship Id="rId9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20.png"/><Relationship Id="rId9" Type="http://schemas.openxmlformats.org/officeDocument/2006/relationships/image" Target="../media/image7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1.png"/><Relationship Id="rId4" Type="http://schemas.openxmlformats.org/officeDocument/2006/relationships/image" Target="../media/image4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914" indent="0" algn="ctr">
              <a:buNone/>
              <a:defRPr sz="4000"/>
            </a:lvl2pPr>
            <a:lvl3pPr marL="1783774" indent="0" algn="ctr">
              <a:buNone/>
              <a:defRPr sz="3800"/>
            </a:lvl3pPr>
            <a:lvl4pPr marL="2675650" indent="0" algn="ctr">
              <a:buNone/>
              <a:defRPr sz="3100"/>
            </a:lvl4pPr>
            <a:lvl5pPr marL="3567543" indent="0" algn="ctr">
              <a:buNone/>
              <a:defRPr sz="3100"/>
            </a:lvl5pPr>
            <a:lvl6pPr marL="4459434" indent="0" algn="ctr">
              <a:buNone/>
              <a:defRPr sz="3100"/>
            </a:lvl6pPr>
            <a:lvl7pPr marL="5351341" indent="0" algn="ctr">
              <a:buNone/>
              <a:defRPr sz="3100"/>
            </a:lvl7pPr>
            <a:lvl8pPr marL="6243217" indent="0" algn="ctr">
              <a:buNone/>
              <a:defRPr sz="3100"/>
            </a:lvl8pPr>
            <a:lvl9pPr marL="713509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529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559973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483351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81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750582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12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13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042712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66868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667053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82130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24038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273831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60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7609" indent="0">
              <a:buNone/>
              <a:defRPr sz="4000" b="1"/>
            </a:lvl2pPr>
            <a:lvl3pPr marL="1795049" indent="0">
              <a:buNone/>
              <a:defRPr sz="3800" b="1"/>
            </a:lvl3pPr>
            <a:lvl4pPr marL="2692544" indent="0">
              <a:buNone/>
              <a:defRPr sz="3100" b="1"/>
            </a:lvl4pPr>
            <a:lvl5pPr marL="3590027" indent="0">
              <a:buNone/>
              <a:defRPr sz="3100" b="1"/>
            </a:lvl5pPr>
            <a:lvl6pPr marL="4487563" indent="0">
              <a:buNone/>
              <a:defRPr sz="3100" b="1"/>
            </a:lvl6pPr>
            <a:lvl7pPr marL="5385103" indent="0">
              <a:buNone/>
              <a:defRPr sz="3100" b="1"/>
            </a:lvl7pPr>
            <a:lvl8pPr marL="6282634" indent="0">
              <a:buNone/>
              <a:defRPr sz="3100" b="1"/>
            </a:lvl8pPr>
            <a:lvl9pPr marL="718008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60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7609" indent="0">
              <a:buNone/>
              <a:defRPr sz="4000" b="1"/>
            </a:lvl2pPr>
            <a:lvl3pPr marL="1795049" indent="0">
              <a:buNone/>
              <a:defRPr sz="3800" b="1"/>
            </a:lvl3pPr>
            <a:lvl4pPr marL="2692544" indent="0">
              <a:buNone/>
              <a:defRPr sz="3100" b="1"/>
            </a:lvl4pPr>
            <a:lvl5pPr marL="3590027" indent="0">
              <a:buNone/>
              <a:defRPr sz="3100" b="1"/>
            </a:lvl5pPr>
            <a:lvl6pPr marL="4487563" indent="0">
              <a:buNone/>
              <a:defRPr sz="3100" b="1"/>
            </a:lvl6pPr>
            <a:lvl7pPr marL="5385103" indent="0">
              <a:buNone/>
              <a:defRPr sz="3100" b="1"/>
            </a:lvl7pPr>
            <a:lvl8pPr marL="6282634" indent="0">
              <a:buNone/>
              <a:defRPr sz="3100" b="1"/>
            </a:lvl8pPr>
            <a:lvl9pPr marL="718008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967759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477335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84423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681" y="4260859"/>
            <a:ext cx="20725051" cy="294005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57362" y="7772400"/>
            <a:ext cx="17067689" cy="3505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072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145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217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290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362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435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507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58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0071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6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202" indent="0" algn="ctr">
              <a:buNone/>
              <a:defRPr sz="4000"/>
            </a:lvl2pPr>
            <a:lvl3pPr marL="1784352" indent="0" algn="ctr">
              <a:buNone/>
              <a:defRPr sz="3800"/>
            </a:lvl3pPr>
            <a:lvl4pPr marL="2676503" indent="0" algn="ctr">
              <a:buNone/>
              <a:defRPr sz="3100"/>
            </a:lvl4pPr>
            <a:lvl5pPr marL="3568688" indent="0" algn="ctr">
              <a:buNone/>
              <a:defRPr sz="3100"/>
            </a:lvl5pPr>
            <a:lvl6pPr marL="4460864" indent="0" algn="ctr">
              <a:buNone/>
              <a:defRPr sz="3100"/>
            </a:lvl6pPr>
            <a:lvl7pPr marL="5353055" indent="0" algn="ctr">
              <a:buNone/>
              <a:defRPr sz="3100"/>
            </a:lvl7pPr>
            <a:lvl8pPr marL="6245217" indent="0" algn="ctr">
              <a:buNone/>
              <a:defRPr sz="3100"/>
            </a:lvl8pPr>
            <a:lvl9pPr marL="7137381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68068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1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202" indent="0" algn="ctr">
              <a:buNone/>
              <a:defRPr sz="4000"/>
            </a:lvl2pPr>
            <a:lvl3pPr marL="1784352" indent="0" algn="ctr">
              <a:buNone/>
              <a:defRPr sz="3800"/>
            </a:lvl3pPr>
            <a:lvl4pPr marL="2676503" indent="0" algn="ctr">
              <a:buNone/>
              <a:defRPr sz="3100"/>
            </a:lvl4pPr>
            <a:lvl5pPr marL="3568688" indent="0" algn="ctr">
              <a:buNone/>
              <a:defRPr sz="3100"/>
            </a:lvl5pPr>
            <a:lvl6pPr marL="4460864" indent="0" algn="ctr">
              <a:buNone/>
              <a:defRPr sz="3100"/>
            </a:lvl6pPr>
            <a:lvl7pPr marL="5353055" indent="0" algn="ctr">
              <a:buNone/>
              <a:defRPr sz="3100"/>
            </a:lvl7pPr>
            <a:lvl8pPr marL="6245217" indent="0" algn="ctr">
              <a:buNone/>
              <a:defRPr sz="3100"/>
            </a:lvl8pPr>
            <a:lvl9pPr marL="7137381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67177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40002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90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55992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316176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931518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1878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6328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66700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924398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215211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076859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400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202" indent="0">
              <a:buNone/>
              <a:defRPr sz="4000" b="1"/>
            </a:lvl2pPr>
            <a:lvl3pPr marL="1784352" indent="0">
              <a:buNone/>
              <a:defRPr sz="3800" b="1"/>
            </a:lvl3pPr>
            <a:lvl4pPr marL="2676503" indent="0">
              <a:buNone/>
              <a:defRPr sz="3100" b="1"/>
            </a:lvl4pPr>
            <a:lvl5pPr marL="3568688" indent="0">
              <a:buNone/>
              <a:defRPr sz="3100" b="1"/>
            </a:lvl5pPr>
            <a:lvl6pPr marL="4460864" indent="0">
              <a:buNone/>
              <a:defRPr sz="3100" b="1"/>
            </a:lvl6pPr>
            <a:lvl7pPr marL="5353055" indent="0">
              <a:buNone/>
              <a:defRPr sz="3100" b="1"/>
            </a:lvl7pPr>
            <a:lvl8pPr marL="6245217" indent="0">
              <a:buNone/>
              <a:defRPr sz="3100" b="1"/>
            </a:lvl8pPr>
            <a:lvl9pPr marL="7137381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400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202" indent="0">
              <a:buNone/>
              <a:defRPr sz="4000" b="1"/>
            </a:lvl2pPr>
            <a:lvl3pPr marL="1784352" indent="0">
              <a:buNone/>
              <a:defRPr sz="3800" b="1"/>
            </a:lvl3pPr>
            <a:lvl4pPr marL="2676503" indent="0">
              <a:buNone/>
              <a:defRPr sz="3100" b="1"/>
            </a:lvl4pPr>
            <a:lvl5pPr marL="3568688" indent="0">
              <a:buNone/>
              <a:defRPr sz="3100" b="1"/>
            </a:lvl5pPr>
            <a:lvl6pPr marL="4460864" indent="0">
              <a:buNone/>
              <a:defRPr sz="3100" b="1"/>
            </a:lvl6pPr>
            <a:lvl7pPr marL="5353055" indent="0">
              <a:buNone/>
              <a:defRPr sz="3100" b="1"/>
            </a:lvl7pPr>
            <a:lvl8pPr marL="6245217" indent="0">
              <a:buNone/>
              <a:defRPr sz="3100" b="1"/>
            </a:lvl8pPr>
            <a:lvl9pPr marL="7137381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009054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4916716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20827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20" y="5464490"/>
            <a:ext cx="18961139" cy="1546408"/>
          </a:xfrm>
        </p:spPr>
        <p:txBody>
          <a:bodyPr anchor="ctr" anchorCtr="0">
            <a:normAutofit/>
          </a:bodyPr>
          <a:lstStyle>
            <a:lvl1pPr algn="ctr">
              <a:defRPr sz="83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20" y="11032921"/>
            <a:ext cx="18961139" cy="159867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4000">
                <a:solidFill>
                  <a:schemeClr val="bg2"/>
                </a:solidFill>
              </a:defRPr>
            </a:lvl1pPr>
            <a:lvl2pPr marL="890364" indent="0" algn="ctr">
              <a:buNone/>
              <a:defRPr sz="4000"/>
            </a:lvl2pPr>
            <a:lvl3pPr marL="1780648" indent="0" algn="ctr">
              <a:buNone/>
              <a:defRPr sz="3800"/>
            </a:lvl3pPr>
            <a:lvl4pPr marL="2670965" indent="0" algn="ctr">
              <a:buNone/>
              <a:defRPr sz="3100"/>
            </a:lvl4pPr>
            <a:lvl5pPr marL="3561286" indent="0" algn="ctr">
              <a:buNone/>
              <a:defRPr sz="3100"/>
            </a:lvl5pPr>
            <a:lvl6pPr marL="4451644" indent="0" algn="ctr">
              <a:buNone/>
              <a:defRPr sz="3100"/>
            </a:lvl6pPr>
            <a:lvl7pPr marL="5341987" indent="0" algn="ctr">
              <a:buNone/>
              <a:defRPr sz="3100"/>
            </a:lvl7pPr>
            <a:lvl8pPr marL="6232308" indent="0" algn="ctr">
              <a:buNone/>
              <a:defRPr sz="3100"/>
            </a:lvl8pPr>
            <a:lvl9pPr marL="712258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485" y="1080801"/>
            <a:ext cx="2549999" cy="174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4396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16" y="5464488"/>
            <a:ext cx="18961137" cy="1546408"/>
          </a:xfrm>
        </p:spPr>
        <p:txBody>
          <a:bodyPr anchor="ctr" anchorCtr="0">
            <a:normAutofit/>
          </a:bodyPr>
          <a:lstStyle>
            <a:lvl1pPr algn="ctr">
              <a:defRPr sz="83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16" y="11032911"/>
            <a:ext cx="18961137" cy="159867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4000">
                <a:solidFill>
                  <a:schemeClr val="bg2"/>
                </a:solidFill>
              </a:defRPr>
            </a:lvl1pPr>
            <a:lvl2pPr marL="890650" indent="0" algn="ctr">
              <a:buNone/>
              <a:defRPr sz="4000"/>
            </a:lvl2pPr>
            <a:lvl3pPr marL="1781224" indent="0" algn="ctr">
              <a:buNone/>
              <a:defRPr sz="3600"/>
            </a:lvl3pPr>
            <a:lvl4pPr marL="2671829" indent="0" algn="ctr">
              <a:buNone/>
              <a:defRPr sz="3100"/>
            </a:lvl4pPr>
            <a:lvl5pPr marL="3562424" indent="0" algn="ctr">
              <a:buNone/>
              <a:defRPr sz="3100"/>
            </a:lvl5pPr>
            <a:lvl6pPr marL="4453070" indent="0" algn="ctr">
              <a:buNone/>
              <a:defRPr sz="3100"/>
            </a:lvl6pPr>
            <a:lvl7pPr marL="5343703" indent="0" algn="ctr">
              <a:buNone/>
              <a:defRPr sz="3100"/>
            </a:lvl7pPr>
            <a:lvl8pPr marL="6234301" indent="0" algn="ctr">
              <a:buNone/>
              <a:defRPr sz="3100"/>
            </a:lvl8pPr>
            <a:lvl9pPr marL="7124863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485" y="1080801"/>
            <a:ext cx="2549999" cy="174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33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6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03002" indent="0" algn="ctr">
              <a:buNone/>
              <a:defRPr sz="4000"/>
            </a:lvl2pPr>
            <a:lvl3pPr marL="1805915" indent="0" algn="ctr">
              <a:buNone/>
              <a:defRPr sz="3800"/>
            </a:lvl3pPr>
            <a:lvl4pPr marL="2708822" indent="0" algn="ctr">
              <a:buNone/>
              <a:defRPr sz="3100"/>
            </a:lvl4pPr>
            <a:lvl5pPr marL="3611774" indent="0" algn="ctr">
              <a:buNone/>
              <a:defRPr sz="3100"/>
            </a:lvl5pPr>
            <a:lvl6pPr marL="4514728" indent="0" algn="ctr">
              <a:buNone/>
              <a:defRPr sz="3100"/>
            </a:lvl6pPr>
            <a:lvl7pPr marL="5417672" indent="0" algn="ctr">
              <a:buNone/>
              <a:defRPr sz="3100"/>
            </a:lvl7pPr>
            <a:lvl8pPr marL="6320607" indent="0" algn="ctr">
              <a:buNone/>
              <a:defRPr sz="3100"/>
            </a:lvl8pPr>
            <a:lvl9pPr marL="722355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7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025361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1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03002" indent="0" algn="ctr">
              <a:buNone/>
              <a:defRPr sz="4000"/>
            </a:lvl2pPr>
            <a:lvl3pPr marL="1805915" indent="0" algn="ctr">
              <a:buNone/>
              <a:defRPr sz="3800"/>
            </a:lvl3pPr>
            <a:lvl4pPr marL="2708822" indent="0" algn="ctr">
              <a:buNone/>
              <a:defRPr sz="3100"/>
            </a:lvl4pPr>
            <a:lvl5pPr marL="3611774" indent="0" algn="ctr">
              <a:buNone/>
              <a:defRPr sz="3100"/>
            </a:lvl5pPr>
            <a:lvl6pPr marL="4514728" indent="0" algn="ctr">
              <a:buNone/>
              <a:defRPr sz="3100"/>
            </a:lvl6pPr>
            <a:lvl7pPr marL="5417672" indent="0" algn="ctr">
              <a:buNone/>
              <a:defRPr sz="3100"/>
            </a:lvl7pPr>
            <a:lvl8pPr marL="6320607" indent="0" algn="ctr">
              <a:buNone/>
              <a:defRPr sz="3100"/>
            </a:lvl8pPr>
            <a:lvl9pPr marL="722355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85167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8502724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90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55992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58926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1314322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980526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77505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66700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206422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26609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689070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80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03002" indent="0">
              <a:buNone/>
              <a:defRPr sz="4000" b="1"/>
            </a:lvl2pPr>
            <a:lvl3pPr marL="1805915" indent="0">
              <a:buNone/>
              <a:defRPr sz="3800" b="1"/>
            </a:lvl3pPr>
            <a:lvl4pPr marL="2708822" indent="0">
              <a:buNone/>
              <a:defRPr sz="3100" b="1"/>
            </a:lvl4pPr>
            <a:lvl5pPr marL="3611774" indent="0">
              <a:buNone/>
              <a:defRPr sz="3100" b="1"/>
            </a:lvl5pPr>
            <a:lvl6pPr marL="4514728" indent="0">
              <a:buNone/>
              <a:defRPr sz="3100" b="1"/>
            </a:lvl6pPr>
            <a:lvl7pPr marL="5417672" indent="0">
              <a:buNone/>
              <a:defRPr sz="3100" b="1"/>
            </a:lvl7pPr>
            <a:lvl8pPr marL="6320607" indent="0">
              <a:buNone/>
              <a:defRPr sz="3100" b="1"/>
            </a:lvl8pPr>
            <a:lvl9pPr marL="722355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80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03002" indent="0">
              <a:buNone/>
              <a:defRPr sz="4000" b="1"/>
            </a:lvl2pPr>
            <a:lvl3pPr marL="1805915" indent="0">
              <a:buNone/>
              <a:defRPr sz="3800" b="1"/>
            </a:lvl3pPr>
            <a:lvl4pPr marL="2708822" indent="0">
              <a:buNone/>
              <a:defRPr sz="3100" b="1"/>
            </a:lvl4pPr>
            <a:lvl5pPr marL="3611774" indent="0">
              <a:buNone/>
              <a:defRPr sz="3100" b="1"/>
            </a:lvl5pPr>
            <a:lvl6pPr marL="4514728" indent="0">
              <a:buNone/>
              <a:defRPr sz="3100" b="1"/>
            </a:lvl6pPr>
            <a:lvl7pPr marL="5417672" indent="0">
              <a:buNone/>
              <a:defRPr sz="3100" b="1"/>
            </a:lvl7pPr>
            <a:lvl8pPr marL="6320607" indent="0">
              <a:buNone/>
              <a:defRPr sz="3100" b="1"/>
            </a:lvl8pPr>
            <a:lvl9pPr marL="722355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5198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636" indent="0" algn="ctr">
              <a:buNone/>
              <a:defRPr sz="4000"/>
            </a:lvl2pPr>
            <a:lvl3pPr marL="1785210" indent="0" algn="ctr">
              <a:buNone/>
              <a:defRPr sz="3800"/>
            </a:lvl3pPr>
            <a:lvl4pPr marL="2677793" indent="0" algn="ctr">
              <a:buNone/>
              <a:defRPr sz="3100"/>
            </a:lvl4pPr>
            <a:lvl5pPr marL="3570402" indent="0" algn="ctr">
              <a:buNone/>
              <a:defRPr sz="3100"/>
            </a:lvl5pPr>
            <a:lvl6pPr marL="4463010" indent="0" algn="ctr">
              <a:buNone/>
              <a:defRPr sz="3100"/>
            </a:lvl6pPr>
            <a:lvl7pPr marL="5355619" indent="0" algn="ctr">
              <a:buNone/>
              <a:defRPr sz="3100"/>
            </a:lvl7pPr>
            <a:lvl8pPr marL="6248217" indent="0" algn="ctr">
              <a:buNone/>
              <a:defRPr sz="3100"/>
            </a:lvl8pPr>
            <a:lvl9pPr marL="7140814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1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575316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8377445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528546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6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0737" indent="0" algn="ctr">
              <a:buNone/>
              <a:defRPr sz="4000"/>
            </a:lvl2pPr>
            <a:lvl3pPr marL="1821488" indent="0" algn="ctr">
              <a:buNone/>
              <a:defRPr sz="3800"/>
            </a:lvl3pPr>
            <a:lvl4pPr marL="2732218" indent="0" algn="ctr">
              <a:buNone/>
              <a:defRPr sz="3100"/>
            </a:lvl4pPr>
            <a:lvl5pPr marL="3642979" indent="0" algn="ctr">
              <a:buNone/>
              <a:defRPr sz="3100"/>
            </a:lvl5pPr>
            <a:lvl6pPr marL="4553728" indent="0" algn="ctr">
              <a:buNone/>
              <a:defRPr sz="3100"/>
            </a:lvl6pPr>
            <a:lvl7pPr marL="5464465" indent="0" algn="ctr">
              <a:buNone/>
              <a:defRPr sz="3100"/>
            </a:lvl7pPr>
            <a:lvl8pPr marL="6375204" indent="0" algn="ctr">
              <a:buNone/>
              <a:defRPr sz="3100"/>
            </a:lvl8pPr>
            <a:lvl9pPr marL="728594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89" y="2376000"/>
            <a:ext cx="2289600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71273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1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0737" indent="0" algn="ctr">
              <a:buNone/>
              <a:defRPr sz="4000"/>
            </a:lvl2pPr>
            <a:lvl3pPr marL="1821488" indent="0" algn="ctr">
              <a:buNone/>
              <a:defRPr sz="3800"/>
            </a:lvl3pPr>
            <a:lvl4pPr marL="2732218" indent="0" algn="ctr">
              <a:buNone/>
              <a:defRPr sz="3100"/>
            </a:lvl4pPr>
            <a:lvl5pPr marL="3642979" indent="0" algn="ctr">
              <a:buNone/>
              <a:defRPr sz="3100"/>
            </a:lvl5pPr>
            <a:lvl6pPr marL="4553728" indent="0" algn="ctr">
              <a:buNone/>
              <a:defRPr sz="3100"/>
            </a:lvl6pPr>
            <a:lvl7pPr marL="5464465" indent="0" algn="ctr">
              <a:buNone/>
              <a:defRPr sz="3100"/>
            </a:lvl7pPr>
            <a:lvl8pPr marL="6375204" indent="0" algn="ctr">
              <a:buNone/>
              <a:defRPr sz="3100"/>
            </a:lvl8pPr>
            <a:lvl9pPr marL="728594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8155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35546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90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55992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987192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782235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7297450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2885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66700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2337941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30295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5750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636" indent="0" algn="ctr">
              <a:buNone/>
              <a:defRPr sz="4000"/>
            </a:lvl2pPr>
            <a:lvl3pPr marL="1785210" indent="0" algn="ctr">
              <a:buNone/>
              <a:defRPr sz="3800"/>
            </a:lvl3pPr>
            <a:lvl4pPr marL="2677793" indent="0" algn="ctr">
              <a:buNone/>
              <a:defRPr sz="3100"/>
            </a:lvl4pPr>
            <a:lvl5pPr marL="3570402" indent="0" algn="ctr">
              <a:buNone/>
              <a:defRPr sz="3100"/>
            </a:lvl5pPr>
            <a:lvl6pPr marL="4463010" indent="0" algn="ctr">
              <a:buNone/>
              <a:defRPr sz="3100"/>
            </a:lvl6pPr>
            <a:lvl7pPr marL="5355619" indent="0" algn="ctr">
              <a:buNone/>
              <a:defRPr sz="3100"/>
            </a:lvl7pPr>
            <a:lvl8pPr marL="6248217" indent="0" algn="ctr">
              <a:buNone/>
              <a:defRPr sz="3100"/>
            </a:lvl8pPr>
            <a:lvl9pPr marL="7140814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44487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660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0737" indent="0">
              <a:buNone/>
              <a:defRPr sz="4000" b="1"/>
            </a:lvl2pPr>
            <a:lvl3pPr marL="1821488" indent="0">
              <a:buNone/>
              <a:defRPr sz="3800" b="1"/>
            </a:lvl3pPr>
            <a:lvl4pPr marL="2732218" indent="0">
              <a:buNone/>
              <a:defRPr sz="3100" b="1"/>
            </a:lvl4pPr>
            <a:lvl5pPr marL="3642979" indent="0">
              <a:buNone/>
              <a:defRPr sz="3100" b="1"/>
            </a:lvl5pPr>
            <a:lvl6pPr marL="4553728" indent="0">
              <a:buNone/>
              <a:defRPr sz="3100" b="1"/>
            </a:lvl6pPr>
            <a:lvl7pPr marL="5464465" indent="0">
              <a:buNone/>
              <a:defRPr sz="3100" b="1"/>
            </a:lvl7pPr>
            <a:lvl8pPr marL="6375204" indent="0">
              <a:buNone/>
              <a:defRPr sz="3100" b="1"/>
            </a:lvl8pPr>
            <a:lvl9pPr marL="728594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660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0737" indent="0">
              <a:buNone/>
              <a:defRPr sz="4000" b="1"/>
            </a:lvl2pPr>
            <a:lvl3pPr marL="1821488" indent="0">
              <a:buNone/>
              <a:defRPr sz="3800" b="1"/>
            </a:lvl3pPr>
            <a:lvl4pPr marL="2732218" indent="0">
              <a:buNone/>
              <a:defRPr sz="3100" b="1"/>
            </a:lvl4pPr>
            <a:lvl5pPr marL="3642979" indent="0">
              <a:buNone/>
              <a:defRPr sz="3100" b="1"/>
            </a:lvl5pPr>
            <a:lvl6pPr marL="4553728" indent="0">
              <a:buNone/>
              <a:defRPr sz="3100" b="1"/>
            </a:lvl6pPr>
            <a:lvl7pPr marL="5464465" indent="0">
              <a:buNone/>
              <a:defRPr sz="3100" b="1"/>
            </a:lvl7pPr>
            <a:lvl8pPr marL="6375204" indent="0">
              <a:buNone/>
              <a:defRPr sz="3100" b="1"/>
            </a:lvl8pPr>
            <a:lvl9pPr marL="728594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3650323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2168070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33140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6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1099" indent="0" algn="ctr">
              <a:buNone/>
              <a:defRPr sz="4000"/>
            </a:lvl2pPr>
            <a:lvl3pPr marL="1822217" indent="0" algn="ctr">
              <a:buNone/>
              <a:defRPr sz="3800"/>
            </a:lvl3pPr>
            <a:lvl4pPr marL="2733313" indent="0" algn="ctr">
              <a:buNone/>
              <a:defRPr sz="3100"/>
            </a:lvl4pPr>
            <a:lvl5pPr marL="3644438" indent="0" algn="ctr">
              <a:buNone/>
              <a:defRPr sz="3100"/>
            </a:lvl5pPr>
            <a:lvl6pPr marL="4555551" indent="0" algn="ctr">
              <a:buNone/>
              <a:defRPr sz="3100"/>
            </a:lvl6pPr>
            <a:lvl7pPr marL="5466650" indent="0" algn="ctr">
              <a:buNone/>
              <a:defRPr sz="3100"/>
            </a:lvl7pPr>
            <a:lvl8pPr marL="6377758" indent="0" algn="ctr">
              <a:buNone/>
              <a:defRPr sz="3100"/>
            </a:lvl8pPr>
            <a:lvl9pPr marL="728886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81" y="2376000"/>
            <a:ext cx="2289600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959441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1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1099" indent="0" algn="ctr">
              <a:buNone/>
              <a:defRPr sz="4000"/>
            </a:lvl2pPr>
            <a:lvl3pPr marL="1822217" indent="0" algn="ctr">
              <a:buNone/>
              <a:defRPr sz="3800"/>
            </a:lvl3pPr>
            <a:lvl4pPr marL="2733313" indent="0" algn="ctr">
              <a:buNone/>
              <a:defRPr sz="3100"/>
            </a:lvl4pPr>
            <a:lvl5pPr marL="3644438" indent="0" algn="ctr">
              <a:buNone/>
              <a:defRPr sz="3100"/>
            </a:lvl5pPr>
            <a:lvl6pPr marL="4555551" indent="0" algn="ctr">
              <a:buNone/>
              <a:defRPr sz="3100"/>
            </a:lvl6pPr>
            <a:lvl7pPr marL="5466650" indent="0" algn="ctr">
              <a:buNone/>
              <a:defRPr sz="3100"/>
            </a:lvl7pPr>
            <a:lvl8pPr marL="6377758" indent="0" algn="ctr">
              <a:buNone/>
              <a:defRPr sz="3100"/>
            </a:lvl8pPr>
            <a:lvl9pPr marL="728886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5993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473633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90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55992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303080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028761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830411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3604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66700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32286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255260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304672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6522231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652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1099" indent="0">
              <a:buNone/>
              <a:defRPr sz="4000" b="1"/>
            </a:lvl2pPr>
            <a:lvl3pPr marL="1822217" indent="0">
              <a:buNone/>
              <a:defRPr sz="3800" b="1"/>
            </a:lvl3pPr>
            <a:lvl4pPr marL="2733313" indent="0">
              <a:buNone/>
              <a:defRPr sz="3100" b="1"/>
            </a:lvl4pPr>
            <a:lvl5pPr marL="3644438" indent="0">
              <a:buNone/>
              <a:defRPr sz="3100" b="1"/>
            </a:lvl5pPr>
            <a:lvl6pPr marL="4555551" indent="0">
              <a:buNone/>
              <a:defRPr sz="3100" b="1"/>
            </a:lvl6pPr>
            <a:lvl7pPr marL="5466650" indent="0">
              <a:buNone/>
              <a:defRPr sz="3100" b="1"/>
            </a:lvl7pPr>
            <a:lvl8pPr marL="6377758" indent="0">
              <a:buNone/>
              <a:defRPr sz="3100" b="1"/>
            </a:lvl8pPr>
            <a:lvl9pPr marL="728886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652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1099" indent="0">
              <a:buNone/>
              <a:defRPr sz="4000" b="1"/>
            </a:lvl2pPr>
            <a:lvl3pPr marL="1822217" indent="0">
              <a:buNone/>
              <a:defRPr sz="3800" b="1"/>
            </a:lvl3pPr>
            <a:lvl4pPr marL="2733313" indent="0">
              <a:buNone/>
              <a:defRPr sz="3100" b="1"/>
            </a:lvl4pPr>
            <a:lvl5pPr marL="3644438" indent="0">
              <a:buNone/>
              <a:defRPr sz="3100" b="1"/>
            </a:lvl5pPr>
            <a:lvl6pPr marL="4555551" indent="0">
              <a:buNone/>
              <a:defRPr sz="3100" b="1"/>
            </a:lvl6pPr>
            <a:lvl7pPr marL="5466650" indent="0">
              <a:buNone/>
              <a:defRPr sz="3100" b="1"/>
            </a:lvl7pPr>
            <a:lvl8pPr marL="6377758" indent="0">
              <a:buNone/>
              <a:defRPr sz="3100" b="1"/>
            </a:lvl8pPr>
            <a:lvl9pPr marL="728886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9172416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053345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96342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447537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46" y="5106381"/>
            <a:ext cx="17138143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068" indent="0" algn="ctr">
              <a:buNone/>
              <a:defRPr sz="4000"/>
            </a:lvl2pPr>
            <a:lvl3pPr marL="1826143" indent="0" algn="ctr">
              <a:buNone/>
              <a:defRPr sz="3800"/>
            </a:lvl3pPr>
            <a:lvl4pPr marL="2739201" indent="0" algn="ctr">
              <a:buNone/>
              <a:defRPr sz="3100"/>
            </a:lvl4pPr>
            <a:lvl5pPr marL="3652285" indent="0" algn="ctr">
              <a:buNone/>
              <a:defRPr sz="3100"/>
            </a:lvl5pPr>
            <a:lvl6pPr marL="4565348" indent="0" algn="ctr">
              <a:buNone/>
              <a:defRPr sz="3100"/>
            </a:lvl6pPr>
            <a:lvl7pPr marL="5478418" indent="0" algn="ctr">
              <a:buNone/>
              <a:defRPr sz="3100"/>
            </a:lvl7pPr>
            <a:lvl8pPr marL="6391484" indent="0" algn="ctr">
              <a:buNone/>
              <a:defRPr sz="3100"/>
            </a:lvl8pPr>
            <a:lvl9pPr marL="7304559" indent="0" algn="ctr">
              <a:buNone/>
              <a:defRPr sz="31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2" y="1440009"/>
            <a:ext cx="3167999" cy="21558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800244" y="1498376"/>
            <a:ext cx="3169988" cy="21703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2090281" y="2401440"/>
            <a:ext cx="2292147" cy="89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449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7235629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1" y="5106381"/>
            <a:ext cx="17138143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kapitteltitte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068" indent="0" algn="ctr">
              <a:buNone/>
              <a:defRPr sz="4000"/>
            </a:lvl2pPr>
            <a:lvl3pPr marL="1826143" indent="0" algn="ctr">
              <a:buNone/>
              <a:defRPr sz="3800"/>
            </a:lvl3pPr>
            <a:lvl4pPr marL="2739201" indent="0" algn="ctr">
              <a:buNone/>
              <a:defRPr sz="3100"/>
            </a:lvl4pPr>
            <a:lvl5pPr marL="3652285" indent="0" algn="ctr">
              <a:buNone/>
              <a:defRPr sz="3100"/>
            </a:lvl5pPr>
            <a:lvl6pPr marL="4565348" indent="0" algn="ctr">
              <a:buNone/>
              <a:defRPr sz="3100"/>
            </a:lvl6pPr>
            <a:lvl7pPr marL="5478418" indent="0" algn="ctr">
              <a:buNone/>
              <a:defRPr sz="3100"/>
            </a:lvl7pPr>
            <a:lvl8pPr marL="6391484" indent="0" algn="ctr">
              <a:buNone/>
              <a:defRPr sz="3100"/>
            </a:lvl8pPr>
            <a:lvl9pPr marL="7304559" indent="0" algn="ctr">
              <a:buNone/>
              <a:defRPr sz="31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12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2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3203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22598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8" y="3366052"/>
            <a:ext cx="21566695" cy="8929484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0518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356106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8" y="3486074"/>
            <a:ext cx="21566695" cy="8825928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19" y="2559929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541582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005483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19" y="2559929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841634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81691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02440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447007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235573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162876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181616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46" y="5106381"/>
            <a:ext cx="17138143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068" indent="0" algn="ctr">
              <a:buNone/>
              <a:defRPr sz="4000"/>
            </a:lvl2pPr>
            <a:lvl3pPr marL="1826143" indent="0" algn="ctr">
              <a:buNone/>
              <a:defRPr sz="3800"/>
            </a:lvl3pPr>
            <a:lvl4pPr marL="2739201" indent="0" algn="ctr">
              <a:buNone/>
              <a:defRPr sz="3100"/>
            </a:lvl4pPr>
            <a:lvl5pPr marL="3652285" indent="0" algn="ctr">
              <a:buNone/>
              <a:defRPr sz="3100"/>
            </a:lvl5pPr>
            <a:lvl6pPr marL="4565348" indent="0" algn="ctr">
              <a:buNone/>
              <a:defRPr sz="3100"/>
            </a:lvl6pPr>
            <a:lvl7pPr marL="5478418" indent="0" algn="ctr">
              <a:buNone/>
              <a:defRPr sz="3100"/>
            </a:lvl7pPr>
            <a:lvl8pPr marL="6391484" indent="0" algn="ctr">
              <a:buNone/>
              <a:defRPr sz="3100"/>
            </a:lvl8pPr>
            <a:lvl9pPr marL="7304559" indent="0" algn="ctr">
              <a:buNone/>
              <a:defRPr sz="31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2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12" y="1440000"/>
            <a:ext cx="3167999" cy="2167200"/>
          </a:xfrm>
          <a:blipFill>
            <a:blip r:embed="rId1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600" cy="8917200"/>
          </a:xfrm>
          <a:blipFill>
            <a:blip r:embed="rId1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1661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445413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5106379"/>
            <a:ext cx="24382413" cy="2049802"/>
          </a:xfrm>
        </p:spPr>
        <p:txBody>
          <a:bodyPr lIns="143791" tIns="71895" rIns="71895" bIns="71895" anchor="t">
            <a:normAutofit/>
          </a:bodyPr>
          <a:lstStyle>
            <a:lvl1pPr marL="884581" indent="0" algn="l">
              <a:defRPr sz="6200" b="1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kapitteltittel</a:t>
            </a:r>
            <a:endParaRPr lang="en-GB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8" name="Blå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2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3917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882167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743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693350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8" y="3816000"/>
            <a:ext cx="21566695" cy="8496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19" y="2559929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77031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0946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82" y="3636000"/>
            <a:ext cx="10549316" cy="8658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1" y="3636000"/>
            <a:ext cx="10549316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560427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277829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642249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410686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3594939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Sett inn </a:t>
            </a:r>
            <a:r>
              <a:rPr lang="en-GB" dirty="0" err="1"/>
              <a:t>bilde</a:t>
            </a:r>
            <a:r>
              <a:rPr lang="en-GB" dirty="0"/>
              <a:t> / </a:t>
            </a:r>
            <a:r>
              <a:rPr lang="en-GB" dirty="0" err="1"/>
              <a:t>graf</a:t>
            </a:r>
            <a:r>
              <a:rPr lang="en-GB" dirty="0"/>
              <a:t>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19" y="2667009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90944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269773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lassholder for innhold 4" descr="Natur_4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74" b="10274"/>
          <a:stretch>
            <a:fillRect/>
          </a:stretch>
        </p:blipFill>
        <p:spPr>
          <a:xfrm>
            <a:off x="823" y="0"/>
            <a:ext cx="24384261" cy="1283200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57130" y="5579192"/>
            <a:ext cx="21566695" cy="1673620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029634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361838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06518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7970745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0" y="3258412"/>
            <a:ext cx="10799297" cy="864108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4" y="3258412"/>
            <a:ext cx="10799297" cy="864108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7746456" y="12721625"/>
            <a:ext cx="1692333" cy="369330"/>
          </a:xfrm>
          <a:prstGeom prst="rect">
            <a:avLst/>
          </a:prstGeom>
        </p:spPr>
        <p:txBody>
          <a:bodyPr lIns="182622" tIns="91306" rIns="182622" bIns="91306"/>
          <a:lstStyle/>
          <a:p>
            <a:pPr defTabSz="1826143"/>
            <a:r>
              <a:rPr lang="en-GB">
                <a:solidFill>
                  <a:srgbClr val="2C4457"/>
                </a:solidFill>
              </a:rPr>
              <a:t>27.01.2016</a:t>
            </a:r>
            <a:endParaRPr lang="en-GB" dirty="0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680662" y="12721625"/>
            <a:ext cx="9600575" cy="369330"/>
          </a:xfrm>
          <a:prstGeom prst="rect">
            <a:avLst/>
          </a:prstGeom>
        </p:spPr>
        <p:txBody>
          <a:bodyPr lIns="182622" tIns="91306" rIns="182622" bIns="91306"/>
          <a:lstStyle/>
          <a:p>
            <a:pPr defTabSz="1826143"/>
            <a:endParaRPr lang="en-GB" dirty="0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754490" y="12721625"/>
            <a:ext cx="617581" cy="369330"/>
          </a:xfrm>
          <a:prstGeom prst="rect">
            <a:avLst/>
          </a:prstGeom>
        </p:spPr>
        <p:txBody>
          <a:bodyPr lIns="182622" tIns="91306" rIns="182622" bIns="91306"/>
          <a:lstStyle/>
          <a:p>
            <a:pPr defTabSz="1826143"/>
            <a:fld id="{5751DFAA-887F-4071-8EAD-E8CA316FCF06}" type="slidenum">
              <a:rPr lang="en-GB" smtClean="0">
                <a:solidFill>
                  <a:srgbClr val="2C4457"/>
                </a:solidFill>
              </a:rPr>
              <a:pPr defTabSz="1826143"/>
              <a:t>‹#›</a:t>
            </a:fld>
            <a:endParaRPr lang="en-GB" dirty="0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1212073" y="1098163"/>
            <a:ext cx="22159955" cy="1440182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367736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okmål Startside m eget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3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6543907"/>
            <a:ext cx="24382413" cy="717209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</a:t>
            </a:r>
            <a:r>
              <a:rPr lang="en-GB" dirty="0" err="1"/>
              <a:t>ikonet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bilde</a:t>
            </a:r>
            <a:endParaRPr lang="en-GB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err="1"/>
              <a:t>Presentasjonstittel</a:t>
            </a:r>
            <a:endParaRPr lang="en-GB" dirty="0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12" y="-536575"/>
            <a:ext cx="7966615" cy="553727"/>
          </a:xfrm>
          <a:prstGeom prst="rect">
            <a:avLst/>
          </a:prstGeom>
          <a:noFill/>
        </p:spPr>
        <p:txBody>
          <a:bodyPr lIns="182622" tIns="91306" rIns="182622" bIns="91306">
            <a:spAutoFit/>
          </a:bodyPr>
          <a:lstStyle/>
          <a:p>
            <a:pPr defTabSz="1826143">
              <a:defRPr/>
            </a:pPr>
            <a:r>
              <a:rPr lang="en-GB" sz="2400" dirty="0">
                <a:solidFill>
                  <a:srgbClr val="281C2C"/>
                </a:solidFill>
              </a:rPr>
              <a:t>Bokmål mal: </a:t>
            </a:r>
            <a:r>
              <a:rPr lang="en-GB" sz="2400" dirty="0" err="1">
                <a:solidFill>
                  <a:srgbClr val="281C2C"/>
                </a:solidFill>
              </a:rPr>
              <a:t>Startside</a:t>
            </a:r>
            <a:r>
              <a:rPr lang="en-GB" sz="2400" dirty="0">
                <a:solidFill>
                  <a:srgbClr val="281C2C"/>
                </a:solidFill>
              </a:rPr>
              <a:t> – sett inn </a:t>
            </a:r>
            <a:r>
              <a:rPr lang="en-GB" sz="2400" dirty="0" err="1">
                <a:solidFill>
                  <a:srgbClr val="281C2C"/>
                </a:solidFill>
              </a:rPr>
              <a:t>eget</a:t>
            </a:r>
            <a:r>
              <a:rPr lang="en-GB" sz="2400" dirty="0">
                <a:solidFill>
                  <a:srgbClr val="281C2C"/>
                </a:solidFill>
              </a:rPr>
              <a:t> </a:t>
            </a:r>
            <a:r>
              <a:rPr lang="en-GB" sz="2400" dirty="0" err="1">
                <a:solidFill>
                  <a:srgbClr val="281C2C"/>
                </a:solidFill>
              </a:rPr>
              <a:t>bilde</a:t>
            </a:r>
            <a:endParaRPr lang="en-GB" sz="2400" dirty="0">
              <a:solidFill>
                <a:srgbClr val="281C2C"/>
              </a:solidFill>
            </a:endParaRPr>
          </a:p>
        </p:txBody>
      </p: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18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Navn</a:t>
            </a:r>
            <a:r>
              <a:rPr lang="en-GB" dirty="0"/>
              <a:t> </a:t>
            </a:r>
            <a:r>
              <a:rPr lang="en-GB" dirty="0" err="1"/>
              <a:t>Foredragsholder</a:t>
            </a:r>
            <a:endParaRPr lang="en-GB" dirty="0"/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98756" y="548984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Sted</a:t>
            </a:r>
            <a:r>
              <a:rPr lang="en-GB" dirty="0"/>
              <a:t>, </a:t>
            </a:r>
            <a:r>
              <a:rPr lang="en-GB" dirty="0" err="1"/>
              <a:t>dato</a:t>
            </a:r>
            <a:endParaRPr lang="en-GB" dirty="0"/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2109463" y="737320"/>
            <a:ext cx="35998" cy="65232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6704" y="1054504"/>
            <a:ext cx="597372" cy="725428"/>
          </a:xfrm>
          <a:prstGeom prst="rect">
            <a:avLst/>
          </a:prstGeom>
        </p:spPr>
      </p:pic>
      <p:sp>
        <p:nvSpPr>
          <p:cNvPr id="13" name="TekstSylinder 12"/>
          <p:cNvSpPr txBox="1"/>
          <p:nvPr userDrawn="1"/>
        </p:nvSpPr>
        <p:spPr>
          <a:xfrm>
            <a:off x="2222861" y="934310"/>
            <a:ext cx="9320321" cy="904592"/>
          </a:xfrm>
          <a:prstGeom prst="rect">
            <a:avLst/>
          </a:prstGeom>
          <a:noFill/>
        </p:spPr>
        <p:txBody>
          <a:bodyPr wrap="square" lIns="182622" tIns="91306" rIns="182622" bIns="91306" rtlCol="0">
            <a:spAutoFit/>
          </a:bodyPr>
          <a:lstStyle/>
          <a:p>
            <a:pPr defTabSz="1826143">
              <a:lnSpc>
                <a:spcPct val="90000"/>
              </a:lnSpc>
            </a:pPr>
            <a:r>
              <a:rPr lang="en-GB" sz="2600" dirty="0" err="1">
                <a:solidFill>
                  <a:srgbClr val="281C2C"/>
                </a:solidFill>
              </a:rPr>
              <a:t>Kommunal</a:t>
            </a:r>
            <a:r>
              <a:rPr lang="en-GB" sz="2600" dirty="0">
                <a:solidFill>
                  <a:srgbClr val="281C2C"/>
                </a:solidFill>
              </a:rPr>
              <a:t>- </a:t>
            </a:r>
            <a:r>
              <a:rPr lang="en-GB" sz="2600" dirty="0" err="1">
                <a:solidFill>
                  <a:srgbClr val="281C2C"/>
                </a:solidFill>
              </a:rPr>
              <a:t>og</a:t>
            </a:r>
            <a:br>
              <a:rPr lang="en-GB" sz="2600" dirty="0">
                <a:solidFill>
                  <a:srgbClr val="281C2C"/>
                </a:solidFill>
              </a:rPr>
            </a:br>
            <a:r>
              <a:rPr lang="en-GB" sz="2600" dirty="0" err="1">
                <a:solidFill>
                  <a:srgbClr val="281C2C"/>
                </a:solidFill>
              </a:rPr>
              <a:t>moderniseringsdepartementet</a:t>
            </a:r>
            <a:endParaRPr lang="en-GB" sz="2600" dirty="0">
              <a:solidFill>
                <a:srgbClr val="281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8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okmål TEKST MED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190486" y="-552447"/>
            <a:ext cx="11132945" cy="553727"/>
          </a:xfrm>
          <a:prstGeom prst="rect">
            <a:avLst/>
          </a:prstGeom>
          <a:noFill/>
        </p:spPr>
        <p:txBody>
          <a:bodyPr lIns="182622" tIns="91306" rIns="182622" bIns="91306">
            <a:spAutoFit/>
          </a:bodyPr>
          <a:lstStyle/>
          <a:p>
            <a:pPr defTabSz="1826143">
              <a:defRPr/>
            </a:pPr>
            <a:r>
              <a:rPr lang="en-GB" sz="2400" dirty="0">
                <a:solidFill>
                  <a:srgbClr val="281C2C"/>
                </a:solidFill>
              </a:rPr>
              <a:t>Bokmål </a:t>
            </a:r>
            <a:r>
              <a:rPr lang="en-GB" sz="2400" dirty="0" err="1">
                <a:solidFill>
                  <a:srgbClr val="281C2C"/>
                </a:solidFill>
              </a:rPr>
              <a:t>mal:Tekst</a:t>
            </a:r>
            <a:r>
              <a:rPr lang="en-GB" sz="2400" dirty="0">
                <a:solidFill>
                  <a:srgbClr val="281C2C"/>
                </a:solidFill>
              </a:rPr>
              <a:t> med </a:t>
            </a:r>
            <a:r>
              <a:rPr lang="en-GB" sz="2400" dirty="0" err="1">
                <a:solidFill>
                  <a:srgbClr val="281C2C"/>
                </a:solidFill>
              </a:rPr>
              <a:t>kulepunkter</a:t>
            </a:r>
            <a:endParaRPr lang="en-GB" sz="2400" dirty="0">
              <a:solidFill>
                <a:srgbClr val="281C2C"/>
              </a:solidFill>
            </a:endParaRPr>
          </a:p>
        </p:txBody>
      </p:sp>
      <p:sp>
        <p:nvSpPr>
          <p:cNvPr id="5" name="TekstSylinder 4"/>
          <p:cNvSpPr txBox="1"/>
          <p:nvPr userDrawn="1"/>
        </p:nvSpPr>
        <p:spPr>
          <a:xfrm>
            <a:off x="-5522022" y="9450311"/>
            <a:ext cx="4897649" cy="2400387"/>
          </a:xfrm>
          <a:prstGeom prst="rect">
            <a:avLst/>
          </a:prstGeom>
          <a:noFill/>
        </p:spPr>
        <p:txBody>
          <a:bodyPr lIns="182622" tIns="91306" rIns="182622" bIns="91306">
            <a:spAutoFit/>
          </a:bodyPr>
          <a:lstStyle/>
          <a:p>
            <a:pPr defTabSz="1826143">
              <a:defRPr/>
            </a:pPr>
            <a:r>
              <a:rPr lang="en-GB" sz="2400" b="1" dirty="0">
                <a:solidFill>
                  <a:srgbClr val="281C2C"/>
                </a:solidFill>
              </a:rPr>
              <a:t>Tips </a:t>
            </a:r>
            <a:r>
              <a:rPr lang="en-GB" sz="2400" b="1" dirty="0" err="1">
                <a:solidFill>
                  <a:srgbClr val="281C2C"/>
                </a:solidFill>
              </a:rPr>
              <a:t>bunntekst</a:t>
            </a:r>
            <a:r>
              <a:rPr lang="en-GB" sz="2400" b="1" dirty="0">
                <a:solidFill>
                  <a:srgbClr val="281C2C"/>
                </a:solidFill>
              </a:rPr>
              <a:t>:</a:t>
            </a:r>
          </a:p>
          <a:p>
            <a:pPr defTabSz="1826143">
              <a:defRPr/>
            </a:pPr>
            <a:r>
              <a:rPr lang="en-GB" sz="2400" b="1" dirty="0">
                <a:solidFill>
                  <a:srgbClr val="281C2C"/>
                </a:solidFill>
              </a:rPr>
              <a:t>For å </a:t>
            </a:r>
            <a:r>
              <a:rPr lang="en-GB" sz="2400" b="1" dirty="0" err="1">
                <a:solidFill>
                  <a:srgbClr val="281C2C"/>
                </a:solidFill>
              </a:rPr>
              <a:t>få</a:t>
            </a:r>
            <a:r>
              <a:rPr lang="en-GB" sz="2400" b="1" dirty="0">
                <a:solidFill>
                  <a:srgbClr val="281C2C"/>
                </a:solidFill>
              </a:rPr>
              <a:t> </a:t>
            </a:r>
            <a:r>
              <a:rPr lang="en-GB" sz="2400" b="1" dirty="0" err="1">
                <a:solidFill>
                  <a:srgbClr val="281C2C"/>
                </a:solidFill>
              </a:rPr>
              <a:t>sidenummer</a:t>
            </a:r>
            <a:r>
              <a:rPr lang="en-GB" sz="2400" b="1" dirty="0">
                <a:solidFill>
                  <a:srgbClr val="281C2C"/>
                </a:solidFill>
              </a:rPr>
              <a:t>, </a:t>
            </a:r>
            <a:r>
              <a:rPr lang="en-GB" sz="2400" b="1" dirty="0" err="1">
                <a:solidFill>
                  <a:srgbClr val="281C2C"/>
                </a:solidFill>
              </a:rPr>
              <a:t>dato</a:t>
            </a:r>
            <a:r>
              <a:rPr lang="en-GB" sz="2400" b="1" dirty="0">
                <a:solidFill>
                  <a:srgbClr val="281C2C"/>
                </a:solidFill>
              </a:rPr>
              <a:t> </a:t>
            </a:r>
            <a:r>
              <a:rPr lang="en-GB" sz="2400" b="1" dirty="0" err="1">
                <a:solidFill>
                  <a:srgbClr val="281C2C"/>
                </a:solidFill>
              </a:rPr>
              <a:t>og</a:t>
            </a:r>
            <a:r>
              <a:rPr lang="en-GB" sz="2400" b="1" dirty="0">
                <a:solidFill>
                  <a:srgbClr val="281C2C"/>
                </a:solidFill>
              </a:rPr>
              <a:t> </a:t>
            </a:r>
            <a:r>
              <a:rPr lang="en-GB" sz="2400" b="1" dirty="0" err="1">
                <a:solidFill>
                  <a:srgbClr val="281C2C"/>
                </a:solidFill>
              </a:rPr>
              <a:t>tittel</a:t>
            </a:r>
            <a:r>
              <a:rPr lang="en-GB" sz="2400" b="1" dirty="0">
                <a:solidFill>
                  <a:srgbClr val="281C2C"/>
                </a:solidFill>
              </a:rPr>
              <a:t> </a:t>
            </a:r>
            <a:r>
              <a:rPr lang="en-GB" sz="2400" b="1" dirty="0" err="1">
                <a:solidFill>
                  <a:srgbClr val="281C2C"/>
                </a:solidFill>
              </a:rPr>
              <a:t>på</a:t>
            </a:r>
            <a:r>
              <a:rPr lang="en-GB" sz="2400" b="1" dirty="0">
                <a:solidFill>
                  <a:srgbClr val="281C2C"/>
                </a:solidFill>
              </a:rPr>
              <a:t> </a:t>
            </a:r>
            <a:r>
              <a:rPr lang="en-GB" sz="2400" b="1" dirty="0" err="1">
                <a:solidFill>
                  <a:srgbClr val="281C2C"/>
                </a:solidFill>
              </a:rPr>
              <a:t>presentasjon</a:t>
            </a:r>
            <a:r>
              <a:rPr lang="en-GB" sz="2400" b="1" dirty="0">
                <a:solidFill>
                  <a:srgbClr val="281C2C"/>
                </a:solidFill>
              </a:rPr>
              <a:t>:</a:t>
            </a:r>
          </a:p>
          <a:p>
            <a:pPr defTabSz="1826143">
              <a:defRPr/>
            </a:pPr>
            <a:r>
              <a:rPr lang="en-GB" sz="2400" dirty="0" err="1">
                <a:solidFill>
                  <a:srgbClr val="281C2C"/>
                </a:solidFill>
              </a:rPr>
              <a:t>Klikk</a:t>
            </a:r>
            <a:r>
              <a:rPr lang="en-GB" sz="2400" dirty="0">
                <a:solidFill>
                  <a:srgbClr val="281C2C"/>
                </a:solidFill>
              </a:rPr>
              <a:t>  </a:t>
            </a:r>
            <a:r>
              <a:rPr lang="en-GB" sz="2400" dirty="0" err="1">
                <a:solidFill>
                  <a:srgbClr val="281C2C"/>
                </a:solidFill>
              </a:rPr>
              <a:t>på</a:t>
            </a:r>
            <a:endParaRPr lang="en-GB" sz="2400" dirty="0">
              <a:solidFill>
                <a:srgbClr val="281C2C"/>
              </a:solidFill>
            </a:endParaRPr>
          </a:p>
          <a:p>
            <a:pPr defTabSz="1826143">
              <a:defRPr/>
            </a:pPr>
            <a:r>
              <a:rPr lang="en-GB" sz="2400" dirty="0">
                <a:solidFill>
                  <a:srgbClr val="281C2C"/>
                </a:solidFill>
              </a:rPr>
              <a:t>”Sett Inn” -&gt; </a:t>
            </a:r>
            <a:r>
              <a:rPr lang="en-GB" sz="2400" dirty="0" err="1">
                <a:solidFill>
                  <a:srgbClr val="281C2C"/>
                </a:solidFill>
              </a:rPr>
              <a:t>Topp</a:t>
            </a:r>
            <a:r>
              <a:rPr lang="en-GB" sz="2400" dirty="0">
                <a:solidFill>
                  <a:srgbClr val="281C2C"/>
                </a:solidFill>
              </a:rPr>
              <a:t> </a:t>
            </a:r>
            <a:r>
              <a:rPr lang="en-GB" sz="2400" dirty="0" err="1">
                <a:solidFill>
                  <a:srgbClr val="281C2C"/>
                </a:solidFill>
              </a:rPr>
              <a:t>og</a:t>
            </a:r>
            <a:r>
              <a:rPr lang="en-GB" sz="2400" dirty="0">
                <a:solidFill>
                  <a:srgbClr val="281C2C"/>
                </a:solidFill>
              </a:rPr>
              <a:t> </a:t>
            </a:r>
            <a:r>
              <a:rPr lang="en-GB" sz="2400" dirty="0" err="1">
                <a:solidFill>
                  <a:srgbClr val="281C2C"/>
                </a:solidFill>
              </a:rPr>
              <a:t>bunntekst</a:t>
            </a:r>
            <a:endParaRPr lang="en-GB" sz="2400" dirty="0">
              <a:solidFill>
                <a:srgbClr val="281C2C"/>
              </a:solidFill>
            </a:endParaRPr>
          </a:p>
          <a:p>
            <a:pPr defTabSz="1826143">
              <a:defRPr/>
            </a:pPr>
            <a:r>
              <a:rPr lang="en-GB" sz="2400" dirty="0">
                <a:solidFill>
                  <a:srgbClr val="281C2C"/>
                </a:solidFill>
              </a:rPr>
              <a:t>- </a:t>
            </a:r>
            <a:r>
              <a:rPr lang="en-GB" sz="2400" dirty="0" err="1">
                <a:solidFill>
                  <a:srgbClr val="281C2C"/>
                </a:solidFill>
              </a:rPr>
              <a:t>Huk</a:t>
            </a:r>
            <a:r>
              <a:rPr lang="en-GB" sz="2400" dirty="0">
                <a:solidFill>
                  <a:srgbClr val="281C2C"/>
                </a:solidFill>
              </a:rPr>
              <a:t> </a:t>
            </a:r>
            <a:r>
              <a:rPr lang="en-GB" sz="2400" dirty="0" err="1">
                <a:solidFill>
                  <a:srgbClr val="281C2C"/>
                </a:solidFill>
              </a:rPr>
              <a:t>av</a:t>
            </a:r>
            <a:r>
              <a:rPr lang="en-GB" sz="2400" dirty="0">
                <a:solidFill>
                  <a:srgbClr val="281C2C"/>
                </a:solidFill>
              </a:rPr>
              <a:t> for </a:t>
            </a:r>
            <a:r>
              <a:rPr lang="en-GB" sz="2400" dirty="0" err="1">
                <a:solidFill>
                  <a:srgbClr val="281C2C"/>
                </a:solidFill>
              </a:rPr>
              <a:t>ønsket</a:t>
            </a:r>
            <a:r>
              <a:rPr lang="en-GB" sz="2400" dirty="0">
                <a:solidFill>
                  <a:srgbClr val="281C2C"/>
                </a:solidFill>
              </a:rPr>
              <a:t> </a:t>
            </a:r>
            <a:r>
              <a:rPr lang="en-GB" sz="2400" dirty="0" err="1">
                <a:solidFill>
                  <a:srgbClr val="281C2C"/>
                </a:solidFill>
              </a:rPr>
              <a:t>tekst</a:t>
            </a:r>
            <a:r>
              <a:rPr lang="en-GB" sz="2400" dirty="0">
                <a:solidFill>
                  <a:srgbClr val="281C2C"/>
                </a:solidFill>
              </a:rPr>
              <a:t>.</a:t>
            </a:r>
          </a:p>
        </p:txBody>
      </p:sp>
      <p:cxnSp>
        <p:nvCxnSpPr>
          <p:cNvPr id="6" name="Vinkel 5"/>
          <p:cNvCxnSpPr/>
          <p:nvPr userDrawn="1"/>
        </p:nvCxnSpPr>
        <p:spPr>
          <a:xfrm>
            <a:off x="-3073196" y="11969750"/>
            <a:ext cx="2209656" cy="12954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749" y="593304"/>
            <a:ext cx="19585176" cy="228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749" y="3185594"/>
            <a:ext cx="19585176" cy="90519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507" y="12628800"/>
            <a:ext cx="2004160" cy="432000"/>
          </a:xfrm>
          <a:prstGeom prst="rect">
            <a:avLst/>
          </a:prstGeom>
        </p:spPr>
        <p:txBody>
          <a:bodyPr lIns="143791" tIns="91306" rIns="0" bIns="9130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6143">
              <a:defRPr/>
            </a:pPr>
            <a:fld id="{DA2BD35D-A3E1-4509-A475-9B35C4AA3138}" type="datetime4">
              <a:rPr lang="en-GB" smtClean="0">
                <a:solidFill>
                  <a:srgbClr val="281C2C"/>
                </a:solidFill>
              </a:rPr>
              <a:pPr defTabSz="1826143">
                <a:defRPr/>
              </a:pPr>
              <a:t>03 April 2019</a:t>
            </a:fld>
            <a:endParaRPr lang="en-GB" dirty="0">
              <a:solidFill>
                <a:srgbClr val="281C2C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077" y="12628800"/>
            <a:ext cx="11376526" cy="432000"/>
          </a:xfrm>
          <a:prstGeom prst="rect">
            <a:avLst/>
          </a:prstGeom>
        </p:spPr>
        <p:txBody>
          <a:bodyPr lIns="182622" tIns="91306" rIns="0" bIns="9130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6143">
              <a:defRPr/>
            </a:pPr>
            <a:r>
              <a:rPr lang="en-GB">
                <a:solidFill>
                  <a:srgbClr val="281C2C"/>
                </a:solidFill>
              </a:rPr>
              <a:t>Tittel på presentasjonen</a:t>
            </a:r>
            <a:endParaRPr lang="en-GB" dirty="0">
              <a:solidFill>
                <a:srgbClr val="281C2C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525" y="12628800"/>
            <a:ext cx="1007220" cy="432000"/>
          </a:xfrm>
          <a:prstGeom prst="rect">
            <a:avLst/>
          </a:prstGeom>
        </p:spPr>
        <p:txBody>
          <a:bodyPr lIns="182622" tIns="91306" rIns="0" bIns="9130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6143">
              <a:defRPr/>
            </a:pPr>
            <a:fld id="{915A8C69-1E23-4468-AC94-010B558DD334}" type="slidenum">
              <a:rPr lang="en-GB" smtClean="0">
                <a:solidFill>
                  <a:srgbClr val="281C2C"/>
                </a:solidFill>
              </a:rPr>
              <a:pPr defTabSz="1826143">
                <a:defRPr/>
              </a:pPr>
              <a:t>‹#›</a:t>
            </a:fld>
            <a:endParaRPr lang="en-GB" dirty="0">
              <a:solidFill>
                <a:srgbClr val="281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57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3355" indent="0" algn="ctr">
              <a:buNone/>
              <a:defRPr sz="4000"/>
            </a:lvl2pPr>
            <a:lvl3pPr marL="1786629" indent="0" algn="ctr">
              <a:buNone/>
              <a:defRPr sz="3800"/>
            </a:lvl3pPr>
            <a:lvl4pPr marL="2679940" indent="0" algn="ctr">
              <a:buNone/>
              <a:defRPr sz="3100"/>
            </a:lvl4pPr>
            <a:lvl5pPr marL="3573257" indent="0" algn="ctr">
              <a:buNone/>
              <a:defRPr sz="3100"/>
            </a:lvl5pPr>
            <a:lvl6pPr marL="4466576" indent="0" algn="ctr">
              <a:buNone/>
              <a:defRPr sz="3100"/>
            </a:lvl6pPr>
            <a:lvl7pPr marL="5359900" indent="0" algn="ctr">
              <a:buNone/>
              <a:defRPr sz="3100"/>
            </a:lvl7pPr>
            <a:lvl8pPr marL="6253216" indent="0" algn="ctr">
              <a:buNone/>
              <a:defRPr sz="3100"/>
            </a:lvl8pPr>
            <a:lvl9pPr marL="7146533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17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36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36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06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0297830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3355" indent="0" algn="ctr">
              <a:buNone/>
              <a:defRPr sz="4000"/>
            </a:lvl2pPr>
            <a:lvl3pPr marL="1786629" indent="0" algn="ctr">
              <a:buNone/>
              <a:defRPr sz="3800"/>
            </a:lvl3pPr>
            <a:lvl4pPr marL="2679940" indent="0" algn="ctr">
              <a:buNone/>
              <a:defRPr sz="3100"/>
            </a:lvl4pPr>
            <a:lvl5pPr marL="3573257" indent="0" algn="ctr">
              <a:buNone/>
              <a:defRPr sz="3100"/>
            </a:lvl5pPr>
            <a:lvl6pPr marL="4466576" indent="0" algn="ctr">
              <a:buNone/>
              <a:defRPr sz="3100"/>
            </a:lvl6pPr>
            <a:lvl7pPr marL="5359900" indent="0" algn="ctr">
              <a:buNone/>
              <a:defRPr sz="3100"/>
            </a:lvl7pPr>
            <a:lvl8pPr marL="6253216" indent="0" algn="ctr">
              <a:buNone/>
              <a:defRPr sz="3100"/>
            </a:lvl8pPr>
            <a:lvl9pPr marL="7146533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17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36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36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7205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826571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17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27483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25451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3837108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8568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382501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385347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20604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643040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3355" indent="0">
              <a:buNone/>
              <a:defRPr sz="4000" b="1"/>
            </a:lvl2pPr>
            <a:lvl3pPr marL="1786629" indent="0">
              <a:buNone/>
              <a:defRPr sz="3800" b="1"/>
            </a:lvl3pPr>
            <a:lvl4pPr marL="2679940" indent="0">
              <a:buNone/>
              <a:defRPr sz="3100" b="1"/>
            </a:lvl4pPr>
            <a:lvl5pPr marL="3573257" indent="0">
              <a:buNone/>
              <a:defRPr sz="3100" b="1"/>
            </a:lvl5pPr>
            <a:lvl6pPr marL="4466576" indent="0">
              <a:buNone/>
              <a:defRPr sz="3100" b="1"/>
            </a:lvl6pPr>
            <a:lvl7pPr marL="5359900" indent="0">
              <a:buNone/>
              <a:defRPr sz="3100" b="1"/>
            </a:lvl7pPr>
            <a:lvl8pPr marL="6253216" indent="0">
              <a:buNone/>
              <a:defRPr sz="3100" b="1"/>
            </a:lvl8pPr>
            <a:lvl9pPr marL="7146533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3355" indent="0">
              <a:buNone/>
              <a:defRPr sz="4000" b="1"/>
            </a:lvl2pPr>
            <a:lvl3pPr marL="1786629" indent="0">
              <a:buNone/>
              <a:defRPr sz="3800" b="1"/>
            </a:lvl3pPr>
            <a:lvl4pPr marL="2679940" indent="0">
              <a:buNone/>
              <a:defRPr sz="3100" b="1"/>
            </a:lvl4pPr>
            <a:lvl5pPr marL="3573257" indent="0">
              <a:buNone/>
              <a:defRPr sz="3100" b="1"/>
            </a:lvl5pPr>
            <a:lvl6pPr marL="4466576" indent="0">
              <a:buNone/>
              <a:defRPr sz="3100" b="1"/>
            </a:lvl6pPr>
            <a:lvl7pPr marL="5359900" indent="0">
              <a:buNone/>
              <a:defRPr sz="3100" b="1"/>
            </a:lvl7pPr>
            <a:lvl8pPr marL="6253216" indent="0">
              <a:buNone/>
              <a:defRPr sz="3100" b="1"/>
            </a:lvl8pPr>
            <a:lvl9pPr marL="7146533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165215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793341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1654798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6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6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203" indent="0" algn="ctr">
              <a:buNone/>
              <a:defRPr sz="4000"/>
            </a:lvl2pPr>
            <a:lvl3pPr marL="1826414" indent="0" algn="ctr">
              <a:buNone/>
              <a:defRPr sz="3800"/>
            </a:lvl3pPr>
            <a:lvl4pPr marL="2739613" indent="0" algn="ctr">
              <a:buNone/>
              <a:defRPr sz="3100"/>
            </a:lvl4pPr>
            <a:lvl5pPr marL="3652833" indent="0" algn="ctr">
              <a:buNone/>
              <a:defRPr sz="3100"/>
            </a:lvl5pPr>
            <a:lvl6pPr marL="4566032" indent="0" algn="ctr">
              <a:buNone/>
              <a:defRPr sz="3100"/>
            </a:lvl6pPr>
            <a:lvl7pPr marL="5479242" indent="0" algn="ctr">
              <a:buNone/>
              <a:defRPr sz="3100"/>
            </a:lvl7pPr>
            <a:lvl8pPr marL="6392443" indent="0" algn="ctr">
              <a:buNone/>
              <a:defRPr sz="3100"/>
            </a:lvl8pPr>
            <a:lvl9pPr marL="7305651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44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40552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1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4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203" indent="0" algn="ctr">
              <a:buNone/>
              <a:defRPr sz="4000"/>
            </a:lvl2pPr>
            <a:lvl3pPr marL="1826414" indent="0" algn="ctr">
              <a:buNone/>
              <a:defRPr sz="3800"/>
            </a:lvl3pPr>
            <a:lvl4pPr marL="2739613" indent="0" algn="ctr">
              <a:buNone/>
              <a:defRPr sz="3100"/>
            </a:lvl4pPr>
            <a:lvl5pPr marL="3652833" indent="0" algn="ctr">
              <a:buNone/>
              <a:defRPr sz="3100"/>
            </a:lvl5pPr>
            <a:lvl6pPr marL="4566032" indent="0" algn="ctr">
              <a:buNone/>
              <a:defRPr sz="3100"/>
            </a:lvl6pPr>
            <a:lvl7pPr marL="5479242" indent="0" algn="ctr">
              <a:buNone/>
              <a:defRPr sz="3100"/>
            </a:lvl7pPr>
            <a:lvl8pPr marL="6392443" indent="0" algn="ctr">
              <a:buNone/>
              <a:defRPr sz="3100"/>
            </a:lvl8pPr>
            <a:lvl9pPr marL="7305651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9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9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87963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48507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90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55992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138009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647042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740681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7164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1889193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7742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1" y="2667007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005686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" y="0"/>
            <a:ext cx="24385847" cy="12832004"/>
          </a:xfrm>
          <a:solidFill>
            <a:schemeClr val="bg2"/>
          </a:solidFill>
        </p:spPr>
        <p:txBody>
          <a:bodyPr tIns="4314579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17618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61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3203" indent="0">
              <a:buNone/>
              <a:defRPr sz="4000" b="1"/>
            </a:lvl2pPr>
            <a:lvl3pPr marL="1826414" indent="0">
              <a:buNone/>
              <a:defRPr sz="3800" b="1"/>
            </a:lvl3pPr>
            <a:lvl4pPr marL="2739613" indent="0">
              <a:buNone/>
              <a:defRPr sz="3100" b="1"/>
            </a:lvl4pPr>
            <a:lvl5pPr marL="3652833" indent="0">
              <a:buNone/>
              <a:defRPr sz="3100" b="1"/>
            </a:lvl5pPr>
            <a:lvl6pPr marL="4566032" indent="0">
              <a:buNone/>
              <a:defRPr sz="3100" b="1"/>
            </a:lvl6pPr>
            <a:lvl7pPr marL="5479242" indent="0">
              <a:buNone/>
              <a:defRPr sz="3100" b="1"/>
            </a:lvl7pPr>
            <a:lvl8pPr marL="6392443" indent="0">
              <a:buNone/>
              <a:defRPr sz="3100" b="1"/>
            </a:lvl8pPr>
            <a:lvl9pPr marL="7305651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614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3203" indent="0">
              <a:buNone/>
              <a:defRPr sz="4000" b="1"/>
            </a:lvl2pPr>
            <a:lvl3pPr marL="1826414" indent="0">
              <a:buNone/>
              <a:defRPr sz="3800" b="1"/>
            </a:lvl3pPr>
            <a:lvl4pPr marL="2739613" indent="0">
              <a:buNone/>
              <a:defRPr sz="3100" b="1"/>
            </a:lvl4pPr>
            <a:lvl5pPr marL="3652833" indent="0">
              <a:buNone/>
              <a:defRPr sz="3100" b="1"/>
            </a:lvl5pPr>
            <a:lvl6pPr marL="4566032" indent="0">
              <a:buNone/>
              <a:defRPr sz="3100" b="1"/>
            </a:lvl6pPr>
            <a:lvl7pPr marL="5479242" indent="0">
              <a:buNone/>
              <a:defRPr sz="3100" b="1"/>
            </a:lvl7pPr>
            <a:lvl8pPr marL="6392443" indent="0">
              <a:buNone/>
              <a:defRPr sz="3100" b="1"/>
            </a:lvl8pPr>
            <a:lvl9pPr marL="7305651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8412115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334088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418615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82" y="1020130"/>
            <a:ext cx="11160668" cy="2520316"/>
          </a:xfrm>
        </p:spPr>
        <p:txBody>
          <a:bodyPr anchor="t" anchorCtr="0">
            <a:normAutofit/>
          </a:bodyPr>
          <a:lstStyle>
            <a:lvl1pPr>
              <a:defRPr sz="67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82" y="3960505"/>
            <a:ext cx="11160668" cy="6000750"/>
          </a:xfrm>
        </p:spPr>
        <p:txBody>
          <a:bodyPr>
            <a:normAutofit/>
          </a:bodyPr>
          <a:lstStyle>
            <a:lvl1pPr marL="0" indent="0">
              <a:buNone/>
              <a:defRPr sz="3800" b="1">
                <a:solidFill>
                  <a:schemeClr val="bg1"/>
                </a:solidFill>
              </a:defRPr>
            </a:lvl1pPr>
            <a:lvl2pPr marL="914072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150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3pPr>
            <a:lvl4pPr marL="2742222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4pPr>
            <a:lvl5pPr marL="3656299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5pPr>
            <a:lvl6pPr marL="4570372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6pPr>
            <a:lvl7pPr marL="5484449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7pPr>
            <a:lvl8pPr marL="6398521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8pPr>
            <a:lvl9pPr marL="7312594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58" y="1050143"/>
            <a:ext cx="10920655" cy="10861358"/>
          </a:xfrm>
          <a:blipFill>
            <a:blip r:embed="rId2"/>
            <a:stretch>
              <a:fillRect/>
            </a:stretch>
          </a:blipFill>
        </p:spPr>
        <p:txBody>
          <a:bodyPr tIns="2998929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8" y="11533442"/>
            <a:ext cx="5496213" cy="44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0743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82" y="1020130"/>
            <a:ext cx="11160668" cy="2521564"/>
          </a:xfrm>
        </p:spPr>
        <p:txBody>
          <a:bodyPr anchor="t" anchorCtr="0">
            <a:normAutofit/>
          </a:bodyPr>
          <a:lstStyle>
            <a:lvl1pPr>
              <a:defRPr sz="67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82" y="3960505"/>
            <a:ext cx="11160668" cy="6000750"/>
          </a:xfrm>
        </p:spPr>
        <p:txBody>
          <a:bodyPr>
            <a:normAutofit/>
          </a:bodyPr>
          <a:lstStyle>
            <a:lvl1pPr marL="0" indent="0">
              <a:buNone/>
              <a:defRPr sz="3800" b="1">
                <a:solidFill>
                  <a:schemeClr val="bg1"/>
                </a:solidFill>
              </a:defRPr>
            </a:lvl1pPr>
            <a:lvl2pPr marL="914072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150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3pPr>
            <a:lvl4pPr marL="2742222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4pPr>
            <a:lvl5pPr marL="3656299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5pPr>
            <a:lvl6pPr marL="4570372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6pPr>
            <a:lvl7pPr marL="5484449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7pPr>
            <a:lvl8pPr marL="6398521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8pPr>
            <a:lvl9pPr marL="7312594" indent="0">
              <a:buNone/>
              <a:defRPr sz="3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94" y="1050137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2998929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600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8" y="11533442"/>
            <a:ext cx="5496213" cy="44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00532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0283968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12071" y="4338546"/>
            <a:ext cx="22162557" cy="756094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212071" y="3258415"/>
            <a:ext cx="22162557" cy="108013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1873264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0" y="3258410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4" y="3258410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86125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914" indent="0" algn="ctr">
              <a:buNone/>
              <a:defRPr sz="4000"/>
            </a:lvl2pPr>
            <a:lvl3pPr marL="1783774" indent="0" algn="ctr">
              <a:buNone/>
              <a:defRPr sz="3800"/>
            </a:lvl3pPr>
            <a:lvl4pPr marL="2675650" indent="0" algn="ctr">
              <a:buNone/>
              <a:defRPr sz="3100"/>
            </a:lvl4pPr>
            <a:lvl5pPr marL="3567543" indent="0" algn="ctr">
              <a:buNone/>
              <a:defRPr sz="3100"/>
            </a:lvl5pPr>
            <a:lvl6pPr marL="4459434" indent="0" algn="ctr">
              <a:buNone/>
              <a:defRPr sz="3100"/>
            </a:lvl6pPr>
            <a:lvl7pPr marL="5351341" indent="0" algn="ctr">
              <a:buNone/>
              <a:defRPr sz="3100"/>
            </a:lvl7pPr>
            <a:lvl8pPr marL="6243217" indent="0" algn="ctr">
              <a:buNone/>
              <a:defRPr sz="3100"/>
            </a:lvl8pPr>
            <a:lvl9pPr marL="713509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7235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0856734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0" y="325840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4" y="325840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4" y="773244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0" y="7732448"/>
            <a:ext cx="10799297" cy="4170000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5561240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0" y="3258408"/>
            <a:ext cx="10799297" cy="4170000"/>
          </a:xfrm>
          <a:solidFill>
            <a:srgbClr val="EFEFEF"/>
          </a:solidFill>
        </p:spPr>
        <p:txBody>
          <a:bodyPr lIns="359870" tIns="599788" rIns="359870" bIns="599788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4" y="3258408"/>
            <a:ext cx="10799297" cy="4170000"/>
          </a:xfrm>
          <a:solidFill>
            <a:srgbClr val="EFEFEF"/>
          </a:solidFill>
        </p:spPr>
        <p:txBody>
          <a:bodyPr lIns="359870" tIns="599788" rIns="359870" bIns="599788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4" y="7729488"/>
            <a:ext cx="10799297" cy="4170000"/>
          </a:xfrm>
          <a:solidFill>
            <a:srgbClr val="EFEFEF"/>
          </a:solidFill>
        </p:spPr>
        <p:txBody>
          <a:bodyPr lIns="359870" tIns="599788" rIns="359870" bIns="599788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0" y="7729488"/>
            <a:ext cx="10799297" cy="4170000"/>
          </a:xfrm>
          <a:solidFill>
            <a:srgbClr val="EFEFEF"/>
          </a:solidFill>
        </p:spPr>
        <p:txBody>
          <a:bodyPr lIns="359870" tIns="599788" rIns="359870" bIns="599788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8870951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0" y="3258415"/>
            <a:ext cx="10799297" cy="108013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800" b="1"/>
            </a:lvl1pPr>
            <a:lvl2pPr marL="914072" indent="0">
              <a:buNone/>
              <a:defRPr sz="4000" b="1"/>
            </a:lvl2pPr>
            <a:lvl3pPr marL="1828150" indent="0">
              <a:buNone/>
              <a:defRPr sz="3800" b="1"/>
            </a:lvl3pPr>
            <a:lvl4pPr marL="2742222" indent="0">
              <a:buNone/>
              <a:defRPr sz="3100" b="1"/>
            </a:lvl4pPr>
            <a:lvl5pPr marL="3656299" indent="0">
              <a:buNone/>
              <a:defRPr sz="3100" b="1"/>
            </a:lvl5pPr>
            <a:lvl6pPr marL="4570372" indent="0">
              <a:buNone/>
              <a:defRPr sz="3100" b="1"/>
            </a:lvl6pPr>
            <a:lvl7pPr marL="5484449" indent="0">
              <a:buNone/>
              <a:defRPr sz="3100" b="1"/>
            </a:lvl7pPr>
            <a:lvl8pPr marL="6398521" indent="0">
              <a:buNone/>
              <a:defRPr sz="3100" b="1"/>
            </a:lvl8pPr>
            <a:lvl9pPr marL="7312594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12070" y="4338546"/>
            <a:ext cx="10799297" cy="75609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572734" y="3258415"/>
            <a:ext cx="10799297" cy="108013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800" b="1"/>
            </a:lvl1pPr>
            <a:lvl2pPr marL="914072" indent="0">
              <a:buNone/>
              <a:defRPr sz="4000" b="1"/>
            </a:lvl2pPr>
            <a:lvl3pPr marL="1828150" indent="0">
              <a:buNone/>
              <a:defRPr sz="3800" b="1"/>
            </a:lvl3pPr>
            <a:lvl4pPr marL="2742222" indent="0">
              <a:buNone/>
              <a:defRPr sz="3100" b="1"/>
            </a:lvl4pPr>
            <a:lvl5pPr marL="3656299" indent="0">
              <a:buNone/>
              <a:defRPr sz="3100" b="1"/>
            </a:lvl5pPr>
            <a:lvl6pPr marL="4570372" indent="0">
              <a:buNone/>
              <a:defRPr sz="3100" b="1"/>
            </a:lvl6pPr>
            <a:lvl7pPr marL="5484449" indent="0">
              <a:buNone/>
              <a:defRPr sz="3100" b="1"/>
            </a:lvl7pPr>
            <a:lvl8pPr marL="6398521" indent="0">
              <a:buNone/>
              <a:defRPr sz="3100" b="1"/>
            </a:lvl8pPr>
            <a:lvl9pPr marL="7312594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12572734" y="4338546"/>
            <a:ext cx="10799297" cy="75609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961925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56059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23778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16" y="5464497"/>
            <a:ext cx="18961137" cy="1546406"/>
          </a:xfrm>
        </p:spPr>
        <p:txBody>
          <a:bodyPr anchor="ctr" anchorCtr="0">
            <a:normAutofit/>
          </a:bodyPr>
          <a:lstStyle>
            <a:lvl1pPr algn="l">
              <a:defRPr sz="6200">
                <a:solidFill>
                  <a:schemeClr val="accent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16" y="11032909"/>
            <a:ext cx="18961137" cy="1598678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4000">
                <a:solidFill>
                  <a:schemeClr val="accent3"/>
                </a:solidFill>
              </a:defRPr>
            </a:lvl1pPr>
            <a:lvl2pPr marL="914072" indent="0" algn="ctr">
              <a:buNone/>
              <a:defRPr sz="4000"/>
            </a:lvl2pPr>
            <a:lvl3pPr marL="1828150" indent="0" algn="ctr">
              <a:buNone/>
              <a:defRPr sz="3800"/>
            </a:lvl3pPr>
            <a:lvl4pPr marL="2742222" indent="0" algn="ctr">
              <a:buNone/>
              <a:defRPr sz="3100"/>
            </a:lvl4pPr>
            <a:lvl5pPr marL="3656299" indent="0" algn="ctr">
              <a:buNone/>
              <a:defRPr sz="3100"/>
            </a:lvl5pPr>
            <a:lvl6pPr marL="4570372" indent="0" algn="ctr">
              <a:buNone/>
              <a:defRPr sz="3100"/>
            </a:lvl6pPr>
            <a:lvl7pPr marL="5484449" indent="0" algn="ctr">
              <a:buNone/>
              <a:defRPr sz="3100"/>
            </a:lvl7pPr>
            <a:lvl8pPr marL="6398521" indent="0" algn="ctr">
              <a:buNone/>
              <a:defRPr sz="3100"/>
            </a:lvl8pPr>
            <a:lvl9pPr marL="7312594" indent="0" algn="ctr">
              <a:buNone/>
              <a:defRPr sz="31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074" y="1080138"/>
            <a:ext cx="2549999" cy="1747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54170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47" y="5106387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4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4369" indent="0" algn="ctr">
              <a:buNone/>
              <a:defRPr sz="4000"/>
            </a:lvl2pPr>
            <a:lvl3pPr marL="1788645" indent="0" algn="ctr">
              <a:buNone/>
              <a:defRPr sz="3800"/>
            </a:lvl3pPr>
            <a:lvl4pPr marL="2682964" indent="0" algn="ctr">
              <a:buNone/>
              <a:defRPr sz="3100"/>
            </a:lvl4pPr>
            <a:lvl5pPr marL="3577290" indent="0" algn="ctr">
              <a:buNone/>
              <a:defRPr sz="3100"/>
            </a:lvl5pPr>
            <a:lvl6pPr marL="4471616" indent="0" algn="ctr">
              <a:buNone/>
              <a:defRPr sz="3100"/>
            </a:lvl6pPr>
            <a:lvl7pPr marL="5365952" indent="0" algn="ctr">
              <a:buNone/>
              <a:defRPr sz="3100"/>
            </a:lvl7pPr>
            <a:lvl8pPr marL="6260268" indent="0" algn="ctr">
              <a:buNone/>
              <a:defRPr sz="3100"/>
            </a:lvl8pPr>
            <a:lvl9pPr marL="715459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396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14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14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888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84809377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9" y="5106387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2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4369" indent="0" algn="ctr">
              <a:buNone/>
              <a:defRPr sz="4000"/>
            </a:lvl2pPr>
            <a:lvl3pPr marL="1788645" indent="0" algn="ctr">
              <a:buNone/>
              <a:defRPr sz="3800"/>
            </a:lvl3pPr>
            <a:lvl4pPr marL="2682964" indent="0" algn="ctr">
              <a:buNone/>
              <a:defRPr sz="3100"/>
            </a:lvl4pPr>
            <a:lvl5pPr marL="3577290" indent="0" algn="ctr">
              <a:buNone/>
              <a:defRPr sz="3100"/>
            </a:lvl5pPr>
            <a:lvl6pPr marL="4471616" indent="0" algn="ctr">
              <a:buNone/>
              <a:defRPr sz="3100"/>
            </a:lvl6pPr>
            <a:lvl7pPr marL="5365952" indent="0" algn="ctr">
              <a:buNone/>
              <a:defRPr sz="3100"/>
            </a:lvl7pPr>
            <a:lvl8pPr marL="6260268" indent="0" algn="ctr">
              <a:buNone/>
              <a:defRPr sz="3100"/>
            </a:lvl8pPr>
            <a:lvl9pPr marL="715459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396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14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14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20509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357128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396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9" y="255993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74407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4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636" indent="0">
              <a:buNone/>
              <a:defRPr sz="4000" b="1"/>
            </a:lvl2pPr>
            <a:lvl3pPr marL="1785210" indent="0">
              <a:buNone/>
              <a:defRPr sz="3800" b="1"/>
            </a:lvl3pPr>
            <a:lvl4pPr marL="2677793" indent="0">
              <a:buNone/>
              <a:defRPr sz="3100" b="1"/>
            </a:lvl4pPr>
            <a:lvl5pPr marL="3570402" indent="0">
              <a:buNone/>
              <a:defRPr sz="3100" b="1"/>
            </a:lvl5pPr>
            <a:lvl6pPr marL="4463010" indent="0">
              <a:buNone/>
              <a:defRPr sz="3100" b="1"/>
            </a:lvl6pPr>
            <a:lvl7pPr marL="5355619" indent="0">
              <a:buNone/>
              <a:defRPr sz="3100" b="1"/>
            </a:lvl7pPr>
            <a:lvl8pPr marL="6248217" indent="0">
              <a:buNone/>
              <a:defRPr sz="3100" b="1"/>
            </a:lvl8pPr>
            <a:lvl9pPr marL="7140814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4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636" indent="0">
              <a:buNone/>
              <a:defRPr sz="4000" b="1"/>
            </a:lvl2pPr>
            <a:lvl3pPr marL="1785210" indent="0">
              <a:buNone/>
              <a:defRPr sz="3800" b="1"/>
            </a:lvl3pPr>
            <a:lvl4pPr marL="2677793" indent="0">
              <a:buNone/>
              <a:defRPr sz="3100" b="1"/>
            </a:lvl4pPr>
            <a:lvl5pPr marL="3570402" indent="0">
              <a:buNone/>
              <a:defRPr sz="3100" b="1"/>
            </a:lvl5pPr>
            <a:lvl6pPr marL="4463010" indent="0">
              <a:buNone/>
              <a:defRPr sz="3100" b="1"/>
            </a:lvl6pPr>
            <a:lvl7pPr marL="5355619" indent="0">
              <a:buNone/>
              <a:defRPr sz="3100" b="1"/>
            </a:lvl7pPr>
            <a:lvl8pPr marL="6248217" indent="0">
              <a:buNone/>
              <a:defRPr sz="3100" b="1"/>
            </a:lvl8pPr>
            <a:lvl9pPr marL="7140814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8687869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397036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0106294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60542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9" y="266701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8339737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25368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957100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4369" indent="0">
              <a:buNone/>
              <a:defRPr sz="4000" b="1"/>
            </a:lvl2pPr>
            <a:lvl3pPr marL="1788645" indent="0">
              <a:buNone/>
              <a:defRPr sz="3800" b="1"/>
            </a:lvl3pPr>
            <a:lvl4pPr marL="2682964" indent="0">
              <a:buNone/>
              <a:defRPr sz="3100" b="1"/>
            </a:lvl4pPr>
            <a:lvl5pPr marL="3577290" indent="0">
              <a:buNone/>
              <a:defRPr sz="3100" b="1"/>
            </a:lvl5pPr>
            <a:lvl6pPr marL="4471616" indent="0">
              <a:buNone/>
              <a:defRPr sz="3100" b="1"/>
            </a:lvl6pPr>
            <a:lvl7pPr marL="5365952" indent="0">
              <a:buNone/>
              <a:defRPr sz="3100" b="1"/>
            </a:lvl7pPr>
            <a:lvl8pPr marL="6260268" indent="0">
              <a:buNone/>
              <a:defRPr sz="3100" b="1"/>
            </a:lvl8pPr>
            <a:lvl9pPr marL="715459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4369" indent="0">
              <a:buNone/>
              <a:defRPr sz="4000" b="1"/>
            </a:lvl2pPr>
            <a:lvl3pPr marL="1788645" indent="0">
              <a:buNone/>
              <a:defRPr sz="3800" b="1"/>
            </a:lvl3pPr>
            <a:lvl4pPr marL="2682964" indent="0">
              <a:buNone/>
              <a:defRPr sz="3100" b="1"/>
            </a:lvl4pPr>
            <a:lvl5pPr marL="3577290" indent="0">
              <a:buNone/>
              <a:defRPr sz="3100" b="1"/>
            </a:lvl5pPr>
            <a:lvl6pPr marL="4471616" indent="0">
              <a:buNone/>
              <a:defRPr sz="3100" b="1"/>
            </a:lvl6pPr>
            <a:lvl7pPr marL="5365952" indent="0">
              <a:buNone/>
              <a:defRPr sz="3100" b="1"/>
            </a:lvl7pPr>
            <a:lvl8pPr marL="6260268" indent="0">
              <a:buNone/>
              <a:defRPr sz="3100" b="1"/>
            </a:lvl8pPr>
            <a:lvl9pPr marL="715459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3124837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153007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9316251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4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1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37" indent="0" algn="ctr">
              <a:buNone/>
              <a:defRPr sz="4000"/>
            </a:lvl2pPr>
            <a:lvl3pPr marL="1828476" indent="0" algn="ctr">
              <a:buNone/>
              <a:defRPr sz="3600"/>
            </a:lvl3pPr>
            <a:lvl4pPr marL="2742710" indent="0" algn="ctr">
              <a:buNone/>
              <a:defRPr sz="3100"/>
            </a:lvl4pPr>
            <a:lvl5pPr marL="3656949" indent="0" algn="ctr">
              <a:buNone/>
              <a:defRPr sz="3100"/>
            </a:lvl5pPr>
            <a:lvl6pPr marL="4571186" indent="0" algn="ctr">
              <a:buNone/>
              <a:defRPr sz="3100"/>
            </a:lvl6pPr>
            <a:lvl7pPr marL="5485425" indent="0" algn="ctr">
              <a:buNone/>
              <a:defRPr sz="3100"/>
            </a:lvl7pPr>
            <a:lvl8pPr marL="6399662" indent="0" algn="ctr">
              <a:buNone/>
              <a:defRPr sz="3100"/>
            </a:lvl8pPr>
            <a:lvl9pPr marL="7313896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8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4" y="1440003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4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615728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9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37" indent="0" algn="ctr">
              <a:buNone/>
              <a:defRPr sz="4000"/>
            </a:lvl2pPr>
            <a:lvl3pPr marL="1828476" indent="0" algn="ctr">
              <a:buNone/>
              <a:defRPr sz="3600"/>
            </a:lvl3pPr>
            <a:lvl4pPr marL="2742710" indent="0" algn="ctr">
              <a:buNone/>
              <a:defRPr sz="3100"/>
            </a:lvl4pPr>
            <a:lvl5pPr marL="3656949" indent="0" algn="ctr">
              <a:buNone/>
              <a:defRPr sz="3100"/>
            </a:lvl5pPr>
            <a:lvl6pPr marL="4571186" indent="0" algn="ctr">
              <a:buNone/>
              <a:defRPr sz="3100"/>
            </a:lvl6pPr>
            <a:lvl7pPr marL="5485425" indent="0" algn="ctr">
              <a:buNone/>
              <a:defRPr sz="3100"/>
            </a:lvl7pPr>
            <a:lvl8pPr marL="6399662" indent="0" algn="ctr">
              <a:buNone/>
              <a:defRPr sz="3100"/>
            </a:lvl8pPr>
            <a:lvl9pPr marL="7313896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8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4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4" y="1440003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95974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597512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677653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2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559923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258599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24215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948362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771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667003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7739747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7" cy="12832004"/>
          </a:xfrm>
          <a:solidFill>
            <a:schemeClr val="bg2"/>
          </a:solidFill>
        </p:spPr>
        <p:txBody>
          <a:bodyPr tIns="4319447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030979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598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37" indent="0">
              <a:buNone/>
              <a:defRPr sz="4000" b="1"/>
            </a:lvl2pPr>
            <a:lvl3pPr marL="1828476" indent="0">
              <a:buNone/>
              <a:defRPr sz="3600" b="1"/>
            </a:lvl3pPr>
            <a:lvl4pPr marL="2742710" indent="0">
              <a:buNone/>
              <a:defRPr sz="3100" b="1"/>
            </a:lvl4pPr>
            <a:lvl5pPr marL="3656949" indent="0">
              <a:buNone/>
              <a:defRPr sz="3100" b="1"/>
            </a:lvl5pPr>
            <a:lvl6pPr marL="4571186" indent="0">
              <a:buNone/>
              <a:defRPr sz="3100" b="1"/>
            </a:lvl6pPr>
            <a:lvl7pPr marL="5485425" indent="0">
              <a:buNone/>
              <a:defRPr sz="3100" b="1"/>
            </a:lvl7pPr>
            <a:lvl8pPr marL="6399662" indent="0">
              <a:buNone/>
              <a:defRPr sz="3100" b="1"/>
            </a:lvl8pPr>
            <a:lvl9pPr marL="7313896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9" cy="1080136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37" indent="0">
              <a:buNone/>
              <a:defRPr sz="4000" b="1"/>
            </a:lvl2pPr>
            <a:lvl3pPr marL="1828476" indent="0">
              <a:buNone/>
              <a:defRPr sz="3600" b="1"/>
            </a:lvl3pPr>
            <a:lvl4pPr marL="2742710" indent="0">
              <a:buNone/>
              <a:defRPr sz="3100" b="1"/>
            </a:lvl4pPr>
            <a:lvl5pPr marL="3656949" indent="0">
              <a:buNone/>
              <a:defRPr sz="3100" b="1"/>
            </a:lvl5pPr>
            <a:lvl6pPr marL="4571186" indent="0">
              <a:buNone/>
              <a:defRPr sz="3100" b="1"/>
            </a:lvl6pPr>
            <a:lvl7pPr marL="5485425" indent="0">
              <a:buNone/>
              <a:defRPr sz="3100" b="1"/>
            </a:lvl7pPr>
            <a:lvl8pPr marL="6399662" indent="0">
              <a:buNone/>
              <a:defRPr sz="3100" b="1"/>
            </a:lvl8pPr>
            <a:lvl9pPr marL="7313896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2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2326156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02228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012091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60" y="5106397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57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743" indent="0" algn="ctr">
              <a:buNone/>
              <a:defRPr sz="4000"/>
            </a:lvl2pPr>
            <a:lvl3pPr marL="1783431" indent="0" algn="ctr">
              <a:buNone/>
              <a:defRPr sz="3800"/>
            </a:lvl3pPr>
            <a:lvl4pPr marL="2675136" indent="0" algn="ctr">
              <a:buNone/>
              <a:defRPr sz="3100"/>
            </a:lvl4pPr>
            <a:lvl5pPr marL="3566857" indent="0" algn="ctr">
              <a:buNone/>
              <a:defRPr sz="3100"/>
            </a:lvl5pPr>
            <a:lvl6pPr marL="4458577" indent="0" algn="ctr">
              <a:buNone/>
              <a:defRPr sz="3100"/>
            </a:lvl6pPr>
            <a:lvl7pPr marL="5350312" indent="0" algn="ctr">
              <a:buNone/>
              <a:defRPr sz="3100"/>
            </a:lvl7pPr>
            <a:lvl8pPr marL="6242017" indent="0" algn="ctr">
              <a:buNone/>
              <a:defRPr sz="3100"/>
            </a:lvl8pPr>
            <a:lvl9pPr marL="713372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52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73" y="144001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73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3147205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13" y="5106397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55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743" indent="0" algn="ctr">
              <a:buNone/>
              <a:defRPr sz="4000"/>
            </a:lvl2pPr>
            <a:lvl3pPr marL="1783431" indent="0" algn="ctr">
              <a:buNone/>
              <a:defRPr sz="3800"/>
            </a:lvl3pPr>
            <a:lvl4pPr marL="2675136" indent="0" algn="ctr">
              <a:buNone/>
              <a:defRPr sz="3100"/>
            </a:lvl4pPr>
            <a:lvl5pPr marL="3566857" indent="0" algn="ctr">
              <a:buNone/>
              <a:defRPr sz="3100"/>
            </a:lvl5pPr>
            <a:lvl6pPr marL="4458577" indent="0" algn="ctr">
              <a:buNone/>
              <a:defRPr sz="3100"/>
            </a:lvl6pPr>
            <a:lvl7pPr marL="5350312" indent="0" algn="ctr">
              <a:buNone/>
              <a:defRPr sz="3100"/>
            </a:lvl7pPr>
            <a:lvl8pPr marL="6242017" indent="0" algn="ctr">
              <a:buNone/>
              <a:defRPr sz="3100"/>
            </a:lvl8pPr>
            <a:lvl9pPr marL="713372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52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73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73" y="144001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7406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009412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6194218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52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52" y="255994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425846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145002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9058544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5433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52" y="266702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0419360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3049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638161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743" indent="0">
              <a:buNone/>
              <a:defRPr sz="4000" b="1"/>
            </a:lvl2pPr>
            <a:lvl3pPr marL="1783431" indent="0">
              <a:buNone/>
              <a:defRPr sz="3800" b="1"/>
            </a:lvl3pPr>
            <a:lvl4pPr marL="2675136" indent="0">
              <a:buNone/>
              <a:defRPr sz="3100" b="1"/>
            </a:lvl4pPr>
            <a:lvl5pPr marL="3566857" indent="0">
              <a:buNone/>
              <a:defRPr sz="3100" b="1"/>
            </a:lvl5pPr>
            <a:lvl6pPr marL="4458577" indent="0">
              <a:buNone/>
              <a:defRPr sz="3100" b="1"/>
            </a:lvl6pPr>
            <a:lvl7pPr marL="5350312" indent="0">
              <a:buNone/>
              <a:defRPr sz="3100" b="1"/>
            </a:lvl7pPr>
            <a:lvl8pPr marL="6242017" indent="0">
              <a:buNone/>
              <a:defRPr sz="3100" b="1"/>
            </a:lvl8pPr>
            <a:lvl9pPr marL="713372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743" indent="0">
              <a:buNone/>
              <a:defRPr sz="4000" b="1"/>
            </a:lvl2pPr>
            <a:lvl3pPr marL="1783431" indent="0">
              <a:buNone/>
              <a:defRPr sz="3800" b="1"/>
            </a:lvl3pPr>
            <a:lvl4pPr marL="2675136" indent="0">
              <a:buNone/>
              <a:defRPr sz="3100" b="1"/>
            </a:lvl4pPr>
            <a:lvl5pPr marL="3566857" indent="0">
              <a:buNone/>
              <a:defRPr sz="3100" b="1"/>
            </a:lvl5pPr>
            <a:lvl6pPr marL="4458577" indent="0">
              <a:buNone/>
              <a:defRPr sz="3100" b="1"/>
            </a:lvl6pPr>
            <a:lvl7pPr marL="5350312" indent="0">
              <a:buNone/>
              <a:defRPr sz="3100" b="1"/>
            </a:lvl7pPr>
            <a:lvl8pPr marL="6242017" indent="0">
              <a:buNone/>
              <a:defRPr sz="3100" b="1"/>
            </a:lvl8pPr>
            <a:lvl9pPr marL="713372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487476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6332694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459262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47" y="5106387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4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29" indent="0" algn="ctr">
              <a:buNone/>
              <a:defRPr sz="4000"/>
            </a:lvl2pPr>
            <a:lvl3pPr marL="1784002" indent="0" algn="ctr">
              <a:buNone/>
              <a:defRPr sz="3800"/>
            </a:lvl3pPr>
            <a:lvl4pPr marL="2675993" indent="0" algn="ctr">
              <a:buNone/>
              <a:defRPr sz="3100"/>
            </a:lvl4pPr>
            <a:lvl5pPr marL="3568000" indent="0" algn="ctr">
              <a:buNone/>
              <a:defRPr sz="3100"/>
            </a:lvl5pPr>
            <a:lvl6pPr marL="4460005" indent="0" algn="ctr">
              <a:buNone/>
              <a:defRPr sz="3100"/>
            </a:lvl6pPr>
            <a:lvl7pPr marL="5352026" indent="0" algn="ctr">
              <a:buNone/>
              <a:defRPr sz="3100"/>
            </a:lvl7pPr>
            <a:lvl8pPr marL="6244017" indent="0" algn="ctr">
              <a:buNone/>
              <a:defRPr sz="3100"/>
            </a:lvl8pPr>
            <a:lvl9pPr marL="7136012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8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0" y="1440005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0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074893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05" indent="0" algn="ctr">
              <a:buNone/>
              <a:defRPr sz="4000"/>
            </a:lvl2pPr>
            <a:lvl3pPr marL="1783955" indent="0" algn="ctr">
              <a:buNone/>
              <a:defRPr sz="3800"/>
            </a:lvl3pPr>
            <a:lvl4pPr marL="2675919" indent="0" algn="ctr">
              <a:buNone/>
              <a:defRPr sz="3100"/>
            </a:lvl4pPr>
            <a:lvl5pPr marL="3567900" indent="0" algn="ctr">
              <a:buNone/>
              <a:defRPr sz="3100"/>
            </a:lvl5pPr>
            <a:lvl6pPr marL="4459884" indent="0" algn="ctr">
              <a:buNone/>
              <a:defRPr sz="3100"/>
            </a:lvl6pPr>
            <a:lvl7pPr marL="5351874" indent="0" algn="ctr">
              <a:buNone/>
              <a:defRPr sz="3100"/>
            </a:lvl7pPr>
            <a:lvl8pPr marL="6243843" indent="0" algn="ctr">
              <a:buNone/>
              <a:defRPr sz="3100"/>
            </a:lvl8pPr>
            <a:lvl9pPr marL="7135810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3928961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9" y="5106387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2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29" indent="0" algn="ctr">
              <a:buNone/>
              <a:defRPr sz="4000"/>
            </a:lvl2pPr>
            <a:lvl3pPr marL="1784002" indent="0" algn="ctr">
              <a:buNone/>
              <a:defRPr sz="3800"/>
            </a:lvl3pPr>
            <a:lvl4pPr marL="2675993" indent="0" algn="ctr">
              <a:buNone/>
              <a:defRPr sz="3100"/>
            </a:lvl4pPr>
            <a:lvl5pPr marL="3568000" indent="0" algn="ctr">
              <a:buNone/>
              <a:defRPr sz="3100"/>
            </a:lvl5pPr>
            <a:lvl6pPr marL="4460005" indent="0" algn="ctr">
              <a:buNone/>
              <a:defRPr sz="3100"/>
            </a:lvl6pPr>
            <a:lvl7pPr marL="5352026" indent="0" algn="ctr">
              <a:buNone/>
              <a:defRPr sz="3100"/>
            </a:lvl7pPr>
            <a:lvl8pPr marL="6244017" indent="0" algn="ctr">
              <a:buNone/>
              <a:defRPr sz="3100"/>
            </a:lvl8pPr>
            <a:lvl9pPr marL="7136012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8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0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0" y="1440005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531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7008398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38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9" y="255993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722073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234541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6100167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5992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9" y="2667011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800877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4395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83238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29" indent="0">
              <a:buNone/>
              <a:defRPr sz="4000" b="1"/>
            </a:lvl2pPr>
            <a:lvl3pPr marL="1784002" indent="0">
              <a:buNone/>
              <a:defRPr sz="3800" b="1"/>
            </a:lvl3pPr>
            <a:lvl4pPr marL="2675993" indent="0">
              <a:buNone/>
              <a:defRPr sz="3100" b="1"/>
            </a:lvl4pPr>
            <a:lvl5pPr marL="3568000" indent="0">
              <a:buNone/>
              <a:defRPr sz="3100" b="1"/>
            </a:lvl5pPr>
            <a:lvl6pPr marL="4460005" indent="0">
              <a:buNone/>
              <a:defRPr sz="3100" b="1"/>
            </a:lvl6pPr>
            <a:lvl7pPr marL="5352026" indent="0">
              <a:buNone/>
              <a:defRPr sz="3100" b="1"/>
            </a:lvl7pPr>
            <a:lvl8pPr marL="6244017" indent="0">
              <a:buNone/>
              <a:defRPr sz="3100" b="1"/>
            </a:lvl8pPr>
            <a:lvl9pPr marL="7136012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3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29" indent="0">
              <a:buNone/>
              <a:defRPr sz="4000" b="1"/>
            </a:lvl2pPr>
            <a:lvl3pPr marL="1784002" indent="0">
              <a:buNone/>
              <a:defRPr sz="3800" b="1"/>
            </a:lvl3pPr>
            <a:lvl4pPr marL="2675993" indent="0">
              <a:buNone/>
              <a:defRPr sz="3100" b="1"/>
            </a:lvl4pPr>
            <a:lvl5pPr marL="3568000" indent="0">
              <a:buNone/>
              <a:defRPr sz="3100" b="1"/>
            </a:lvl5pPr>
            <a:lvl6pPr marL="4460005" indent="0">
              <a:buNone/>
              <a:defRPr sz="3100" b="1"/>
            </a:lvl6pPr>
            <a:lvl7pPr marL="5352026" indent="0">
              <a:buNone/>
              <a:defRPr sz="3100" b="1"/>
            </a:lvl7pPr>
            <a:lvl8pPr marL="6244017" indent="0">
              <a:buNone/>
              <a:defRPr sz="3100" b="1"/>
            </a:lvl8pPr>
            <a:lvl9pPr marL="7136012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7106996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041256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7836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05" indent="0" algn="ctr">
              <a:buNone/>
              <a:defRPr sz="4000"/>
            </a:lvl2pPr>
            <a:lvl3pPr marL="1783955" indent="0" algn="ctr">
              <a:buNone/>
              <a:defRPr sz="3800"/>
            </a:lvl3pPr>
            <a:lvl4pPr marL="2675919" indent="0" algn="ctr">
              <a:buNone/>
              <a:defRPr sz="3100"/>
            </a:lvl4pPr>
            <a:lvl5pPr marL="3567900" indent="0" algn="ctr">
              <a:buNone/>
              <a:defRPr sz="3100"/>
            </a:lvl5pPr>
            <a:lvl6pPr marL="4459884" indent="0" algn="ctr">
              <a:buNone/>
              <a:defRPr sz="3100"/>
            </a:lvl6pPr>
            <a:lvl7pPr marL="5351874" indent="0" algn="ctr">
              <a:buNone/>
              <a:defRPr sz="3100"/>
            </a:lvl7pPr>
            <a:lvl8pPr marL="6243843" indent="0" algn="ctr">
              <a:buNone/>
              <a:defRPr sz="3100"/>
            </a:lvl8pPr>
            <a:lvl9pPr marL="7135810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58016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776965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72"/>
            <a:ext cx="17138143" cy="828677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17" indent="0" algn="ctr">
              <a:buNone/>
              <a:defRPr sz="4000"/>
            </a:lvl2pPr>
            <a:lvl3pPr marL="1828435" indent="0" algn="ctr">
              <a:buNone/>
              <a:defRPr sz="3700"/>
            </a:lvl3pPr>
            <a:lvl4pPr marL="2742652" indent="0" algn="ctr">
              <a:buNone/>
              <a:defRPr sz="3200"/>
            </a:lvl4pPr>
            <a:lvl5pPr marL="3656869" indent="0" algn="ctr">
              <a:buNone/>
              <a:defRPr sz="3200"/>
            </a:lvl5pPr>
            <a:lvl6pPr marL="4571086" indent="0" algn="ctr">
              <a:buNone/>
              <a:defRPr sz="3200"/>
            </a:lvl6pPr>
            <a:lvl7pPr marL="5485303" indent="0" algn="ctr">
              <a:buNone/>
              <a:defRPr sz="3200"/>
            </a:lvl7pPr>
            <a:lvl8pPr marL="6399520" indent="0" algn="ctr">
              <a:buNone/>
              <a:defRPr sz="3200"/>
            </a:lvl8pPr>
            <a:lvl9pPr marL="7313737" indent="0" algn="ctr">
              <a:buNone/>
              <a:defRPr sz="32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2"/>
            <a:ext cx="3168000" cy="215583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800227" y="1498377"/>
            <a:ext cx="3169989" cy="21703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2090270" y="2401439"/>
            <a:ext cx="2292146" cy="8913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36046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81513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4" y="5106372"/>
            <a:ext cx="17138143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kapitteltitte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17" indent="0" algn="ctr">
              <a:buNone/>
              <a:defRPr sz="4000"/>
            </a:lvl2pPr>
            <a:lvl3pPr marL="1828435" indent="0" algn="ctr">
              <a:buNone/>
              <a:defRPr sz="3700"/>
            </a:lvl3pPr>
            <a:lvl4pPr marL="2742652" indent="0" algn="ctr">
              <a:buNone/>
              <a:defRPr sz="3200"/>
            </a:lvl4pPr>
            <a:lvl5pPr marL="3656869" indent="0" algn="ctr">
              <a:buNone/>
              <a:defRPr sz="3200"/>
            </a:lvl5pPr>
            <a:lvl6pPr marL="4571086" indent="0" algn="ctr">
              <a:buNone/>
              <a:defRPr sz="3200"/>
            </a:lvl6pPr>
            <a:lvl7pPr marL="5485303" indent="0" algn="ctr">
              <a:buNone/>
              <a:defRPr sz="3200"/>
            </a:lvl7pPr>
            <a:lvl8pPr marL="6399520" indent="0" algn="ctr">
              <a:buNone/>
              <a:defRPr sz="3200"/>
            </a:lvl8pPr>
            <a:lvl9pPr marL="7313737" indent="0" algn="ctr">
              <a:buNone/>
              <a:defRPr sz="32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2" y="1440000"/>
            <a:ext cx="3168000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2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70492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864521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366052"/>
            <a:ext cx="21566696" cy="8929483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82686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559233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486075"/>
            <a:ext cx="21566696" cy="8825927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2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6135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8959044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2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48245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990834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75154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578693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445202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498623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72"/>
            <a:ext cx="17138143" cy="828677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17" indent="0" algn="ctr">
              <a:buNone/>
              <a:defRPr sz="4000"/>
            </a:lvl2pPr>
            <a:lvl3pPr marL="1828435" indent="0" algn="ctr">
              <a:buNone/>
              <a:defRPr sz="3700"/>
            </a:lvl3pPr>
            <a:lvl4pPr marL="2742652" indent="0" algn="ctr">
              <a:buNone/>
              <a:defRPr sz="3200"/>
            </a:lvl4pPr>
            <a:lvl5pPr marL="3656869" indent="0" algn="ctr">
              <a:buNone/>
              <a:defRPr sz="3200"/>
            </a:lvl5pPr>
            <a:lvl6pPr marL="4571086" indent="0" algn="ctr">
              <a:buNone/>
              <a:defRPr sz="3200"/>
            </a:lvl6pPr>
            <a:lvl7pPr marL="5485303" indent="0" algn="ctr">
              <a:buNone/>
              <a:defRPr sz="3200"/>
            </a:lvl7pPr>
            <a:lvl8pPr marL="6399520" indent="0" algn="ctr">
              <a:buNone/>
              <a:defRPr sz="3200"/>
            </a:lvl8pPr>
            <a:lvl9pPr marL="7313737" indent="0" algn="ctr">
              <a:buNone/>
              <a:defRPr sz="3200"/>
            </a:lvl9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undertittelstil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2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2" y="1440000"/>
            <a:ext cx="3168000" cy="2167200"/>
          </a:xfrm>
          <a:blipFill>
            <a:blip r:embed="rId1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1" cy="8917200"/>
          </a:xfrm>
          <a:blipFill>
            <a:blip r:embed="rId1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en-GB" dirty="0">
                <a:latin typeface="Calibri Light" panose="020F03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382166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257706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5106372"/>
            <a:ext cx="24382413" cy="2049802"/>
          </a:xfrm>
        </p:spPr>
        <p:txBody>
          <a:bodyPr lIns="143979" tIns="71989" rIns="71989" bIns="71989" anchor="t">
            <a:normAutofit/>
          </a:bodyPr>
          <a:lstStyle>
            <a:lvl1pPr marL="885693" indent="0" algn="l">
              <a:defRPr sz="6300" b="1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kapitteltittel</a:t>
            </a:r>
            <a:endParaRPr lang="en-GB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8" name="Blå_logo" hidden="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2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90890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008193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5945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9746542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720277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2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609156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352130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538437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948702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8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6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388096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491125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359946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Sett inn </a:t>
            </a:r>
            <a:r>
              <a:rPr lang="en-GB" dirty="0" err="1"/>
              <a:t>bilde</a:t>
            </a:r>
            <a:r>
              <a:rPr lang="en-GB" dirty="0"/>
              <a:t> / </a:t>
            </a:r>
            <a:r>
              <a:rPr lang="en-GB" dirty="0" err="1"/>
              <a:t>graf</a:t>
            </a:r>
            <a:r>
              <a:rPr lang="en-GB" dirty="0"/>
              <a:t>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2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43529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100022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lassholder for innhold 4" descr="Natur_4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74" b="10274"/>
          <a:stretch>
            <a:fillRect/>
          </a:stretch>
        </p:blipFill>
        <p:spPr>
          <a:xfrm>
            <a:off x="796" y="0"/>
            <a:ext cx="24384261" cy="1283200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57119" y="5579192"/>
            <a:ext cx="21566696" cy="1673620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74328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723277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43730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1" y="3258412"/>
            <a:ext cx="10799297" cy="864108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2" y="3258412"/>
            <a:ext cx="10799297" cy="8641080"/>
          </a:xfrm>
        </p:spPr>
        <p:txBody>
          <a:bodyPr/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7746456" y="12721617"/>
            <a:ext cx="1692333" cy="369330"/>
          </a:xfrm>
          <a:prstGeom prst="rect">
            <a:avLst/>
          </a:prstGeom>
        </p:spPr>
        <p:txBody>
          <a:bodyPr lIns="182853" tIns="91426" rIns="182853" bIns="91426"/>
          <a:lstStyle/>
          <a:p>
            <a:pPr defTabSz="1828435"/>
            <a:r>
              <a:rPr lang="en-GB" sz="3700">
                <a:solidFill>
                  <a:srgbClr val="2C4457"/>
                </a:solidFill>
              </a:rPr>
              <a:t>27.01.2016</a:t>
            </a:r>
            <a:endParaRPr lang="en-GB" sz="3700" dirty="0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10680663" y="12721617"/>
            <a:ext cx="9600575" cy="369330"/>
          </a:xfrm>
          <a:prstGeom prst="rect">
            <a:avLst/>
          </a:prstGeom>
        </p:spPr>
        <p:txBody>
          <a:bodyPr lIns="182853" tIns="91426" rIns="182853" bIns="91426"/>
          <a:lstStyle/>
          <a:p>
            <a:pPr defTabSz="1828435"/>
            <a:endParaRPr lang="en-GB" sz="3700" dirty="0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22754473" y="12721617"/>
            <a:ext cx="617581" cy="369330"/>
          </a:xfrm>
          <a:prstGeom prst="rect">
            <a:avLst/>
          </a:prstGeom>
        </p:spPr>
        <p:txBody>
          <a:bodyPr lIns="182853" tIns="91426" rIns="182853" bIns="91426"/>
          <a:lstStyle/>
          <a:p>
            <a:pPr defTabSz="1828435"/>
            <a:fld id="{5751DFAA-887F-4071-8EAD-E8CA316FCF06}" type="slidenum">
              <a:rPr lang="en-GB" sz="3700" smtClean="0">
                <a:solidFill>
                  <a:srgbClr val="2C4457"/>
                </a:solidFill>
              </a:rPr>
              <a:pPr defTabSz="1828435"/>
              <a:t>‹#›</a:t>
            </a:fld>
            <a:endParaRPr lang="en-GB" sz="3700" dirty="0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1212073" y="1098162"/>
            <a:ext cx="22159954" cy="1440182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17109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okmål Startside m eget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3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6543903"/>
            <a:ext cx="24382413" cy="71720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3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</a:t>
            </a:r>
            <a:r>
              <a:rPr lang="en-GB" dirty="0" err="1"/>
              <a:t>ikonet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bilde</a:t>
            </a:r>
            <a:endParaRPr lang="en-GB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err="1"/>
              <a:t>Presentasjonstittel</a:t>
            </a:r>
            <a:endParaRPr lang="en-GB" dirty="0"/>
          </a:p>
        </p:txBody>
      </p:sp>
      <p:sp>
        <p:nvSpPr>
          <p:cNvPr id="8" name="TekstSylinder 7"/>
          <p:cNvSpPr txBox="1"/>
          <p:nvPr userDrawn="1"/>
        </p:nvSpPr>
        <p:spPr>
          <a:xfrm>
            <a:off x="3" y="-536576"/>
            <a:ext cx="7966615" cy="552452"/>
          </a:xfrm>
          <a:prstGeom prst="rect">
            <a:avLst/>
          </a:prstGeom>
          <a:noFill/>
        </p:spPr>
        <p:txBody>
          <a:bodyPr lIns="182853" tIns="91426" rIns="182853" bIns="91426">
            <a:spAutoFit/>
          </a:bodyPr>
          <a:lstStyle/>
          <a:p>
            <a:pPr defTabSz="1828435">
              <a:defRPr/>
            </a:pPr>
            <a:r>
              <a:rPr lang="en-GB" sz="2300" dirty="0">
                <a:solidFill>
                  <a:srgbClr val="281C2C"/>
                </a:solidFill>
              </a:rPr>
              <a:t>Bokmål mal: </a:t>
            </a:r>
            <a:r>
              <a:rPr lang="en-GB" sz="2300" dirty="0" err="1">
                <a:solidFill>
                  <a:srgbClr val="281C2C"/>
                </a:solidFill>
              </a:rPr>
              <a:t>Startside</a:t>
            </a:r>
            <a:r>
              <a:rPr lang="en-GB" sz="2300" dirty="0">
                <a:solidFill>
                  <a:srgbClr val="281C2C"/>
                </a:solidFill>
              </a:rPr>
              <a:t> – sett inn </a:t>
            </a:r>
            <a:r>
              <a:rPr lang="en-GB" sz="2300" dirty="0" err="1">
                <a:solidFill>
                  <a:srgbClr val="281C2C"/>
                </a:solidFill>
              </a:rPr>
              <a:t>eget</a:t>
            </a:r>
            <a:r>
              <a:rPr lang="en-GB" sz="2300" dirty="0">
                <a:solidFill>
                  <a:srgbClr val="281C2C"/>
                </a:solidFill>
              </a:rPr>
              <a:t> </a:t>
            </a:r>
            <a:r>
              <a:rPr lang="en-GB" sz="2300" dirty="0" err="1">
                <a:solidFill>
                  <a:srgbClr val="281C2C"/>
                </a:solidFill>
              </a:rPr>
              <a:t>bilde</a:t>
            </a:r>
            <a:endParaRPr lang="en-GB" sz="2300" dirty="0">
              <a:solidFill>
                <a:srgbClr val="281C2C"/>
              </a:solidFill>
            </a:endParaRPr>
          </a:p>
        </p:txBody>
      </p: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187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Navn</a:t>
            </a:r>
            <a:r>
              <a:rPr lang="en-GB" dirty="0"/>
              <a:t> </a:t>
            </a:r>
            <a:r>
              <a:rPr lang="en-GB" dirty="0" err="1"/>
              <a:t>Foredragsholder</a:t>
            </a:r>
            <a:endParaRPr lang="en-GB" dirty="0"/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98756" y="548984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err="1"/>
              <a:t>Sted</a:t>
            </a:r>
            <a:r>
              <a:rPr lang="en-GB" dirty="0"/>
              <a:t>, </a:t>
            </a:r>
            <a:r>
              <a:rPr lang="en-GB" dirty="0" err="1"/>
              <a:t>dato</a:t>
            </a:r>
            <a:endParaRPr lang="en-GB" dirty="0"/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2109463" y="737320"/>
            <a:ext cx="35998" cy="65232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6704" y="1054503"/>
            <a:ext cx="597371" cy="725427"/>
          </a:xfrm>
          <a:prstGeom prst="rect">
            <a:avLst/>
          </a:prstGeom>
        </p:spPr>
      </p:pic>
      <p:sp>
        <p:nvSpPr>
          <p:cNvPr id="13" name="TekstSylinder 12"/>
          <p:cNvSpPr txBox="1"/>
          <p:nvPr userDrawn="1"/>
        </p:nvSpPr>
        <p:spPr>
          <a:xfrm>
            <a:off x="2222856" y="934295"/>
            <a:ext cx="9320322" cy="932535"/>
          </a:xfrm>
          <a:prstGeom prst="rect">
            <a:avLst/>
          </a:prstGeom>
          <a:noFill/>
        </p:spPr>
        <p:txBody>
          <a:bodyPr wrap="square" lIns="182853" tIns="91426" rIns="182853" bIns="91426" rtlCol="0">
            <a:spAutoFit/>
          </a:bodyPr>
          <a:lstStyle/>
          <a:p>
            <a:pPr defTabSz="1828435">
              <a:lnSpc>
                <a:spcPct val="90000"/>
              </a:lnSpc>
            </a:pPr>
            <a:r>
              <a:rPr lang="en-GB" sz="2700" dirty="0" err="1">
                <a:solidFill>
                  <a:srgbClr val="281C2C"/>
                </a:solidFill>
              </a:rPr>
              <a:t>Kommunal</a:t>
            </a:r>
            <a:r>
              <a:rPr lang="en-GB" sz="2700" dirty="0">
                <a:solidFill>
                  <a:srgbClr val="281C2C"/>
                </a:solidFill>
              </a:rPr>
              <a:t>- </a:t>
            </a:r>
            <a:r>
              <a:rPr lang="en-GB" sz="2700" dirty="0" err="1">
                <a:solidFill>
                  <a:srgbClr val="281C2C"/>
                </a:solidFill>
              </a:rPr>
              <a:t>og</a:t>
            </a:r>
            <a:br>
              <a:rPr lang="en-GB" sz="2700" dirty="0">
                <a:solidFill>
                  <a:srgbClr val="281C2C"/>
                </a:solidFill>
              </a:rPr>
            </a:br>
            <a:r>
              <a:rPr lang="en-GB" sz="2700" dirty="0" err="1">
                <a:solidFill>
                  <a:srgbClr val="281C2C"/>
                </a:solidFill>
              </a:rPr>
              <a:t>moderniseringsdepartementet</a:t>
            </a:r>
            <a:endParaRPr lang="en-GB" sz="2700" dirty="0">
              <a:solidFill>
                <a:srgbClr val="281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13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okmål TEKST MED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190487" y="-552448"/>
            <a:ext cx="11132945" cy="552450"/>
          </a:xfrm>
          <a:prstGeom prst="rect">
            <a:avLst/>
          </a:prstGeom>
          <a:noFill/>
        </p:spPr>
        <p:txBody>
          <a:bodyPr lIns="182853" tIns="91426" rIns="182853" bIns="91426">
            <a:spAutoFit/>
          </a:bodyPr>
          <a:lstStyle/>
          <a:p>
            <a:pPr defTabSz="1828435">
              <a:defRPr/>
            </a:pPr>
            <a:r>
              <a:rPr lang="en-GB" sz="2300" dirty="0">
                <a:solidFill>
                  <a:srgbClr val="281C2C"/>
                </a:solidFill>
              </a:rPr>
              <a:t>Bokmål </a:t>
            </a:r>
            <a:r>
              <a:rPr lang="en-GB" sz="2300" dirty="0" err="1">
                <a:solidFill>
                  <a:srgbClr val="281C2C"/>
                </a:solidFill>
              </a:rPr>
              <a:t>mal:Tekst</a:t>
            </a:r>
            <a:r>
              <a:rPr lang="en-GB" sz="2300" dirty="0">
                <a:solidFill>
                  <a:srgbClr val="281C2C"/>
                </a:solidFill>
              </a:rPr>
              <a:t> med </a:t>
            </a:r>
            <a:r>
              <a:rPr lang="en-GB" sz="2300" dirty="0" err="1">
                <a:solidFill>
                  <a:srgbClr val="281C2C"/>
                </a:solidFill>
              </a:rPr>
              <a:t>kulepunkter</a:t>
            </a:r>
            <a:endParaRPr lang="en-GB" sz="2300" dirty="0">
              <a:solidFill>
                <a:srgbClr val="281C2C"/>
              </a:solidFill>
            </a:endParaRPr>
          </a:p>
        </p:txBody>
      </p:sp>
      <p:sp>
        <p:nvSpPr>
          <p:cNvPr id="5" name="TekstSylinder 4"/>
          <p:cNvSpPr txBox="1"/>
          <p:nvPr userDrawn="1"/>
        </p:nvSpPr>
        <p:spPr>
          <a:xfrm>
            <a:off x="-5522022" y="9450289"/>
            <a:ext cx="4897650" cy="2308296"/>
          </a:xfrm>
          <a:prstGeom prst="rect">
            <a:avLst/>
          </a:prstGeom>
          <a:noFill/>
        </p:spPr>
        <p:txBody>
          <a:bodyPr lIns="182853" tIns="91426" rIns="182853" bIns="91426">
            <a:spAutoFit/>
          </a:bodyPr>
          <a:lstStyle/>
          <a:p>
            <a:pPr defTabSz="1828435">
              <a:defRPr/>
            </a:pPr>
            <a:r>
              <a:rPr lang="en-GB" sz="2300" b="1" dirty="0">
                <a:solidFill>
                  <a:srgbClr val="281C2C"/>
                </a:solidFill>
              </a:rPr>
              <a:t>Tips </a:t>
            </a:r>
            <a:r>
              <a:rPr lang="en-GB" sz="2300" b="1" dirty="0" err="1">
                <a:solidFill>
                  <a:srgbClr val="281C2C"/>
                </a:solidFill>
              </a:rPr>
              <a:t>bunntekst</a:t>
            </a:r>
            <a:r>
              <a:rPr lang="en-GB" sz="2300" b="1" dirty="0">
                <a:solidFill>
                  <a:srgbClr val="281C2C"/>
                </a:solidFill>
              </a:rPr>
              <a:t>:</a:t>
            </a:r>
          </a:p>
          <a:p>
            <a:pPr defTabSz="1828435">
              <a:defRPr/>
            </a:pPr>
            <a:r>
              <a:rPr lang="en-GB" sz="2300" b="1" dirty="0">
                <a:solidFill>
                  <a:srgbClr val="281C2C"/>
                </a:solidFill>
              </a:rPr>
              <a:t>For å </a:t>
            </a:r>
            <a:r>
              <a:rPr lang="en-GB" sz="2300" b="1" dirty="0" err="1">
                <a:solidFill>
                  <a:srgbClr val="281C2C"/>
                </a:solidFill>
              </a:rPr>
              <a:t>få</a:t>
            </a:r>
            <a:r>
              <a:rPr lang="en-GB" sz="2300" b="1" dirty="0">
                <a:solidFill>
                  <a:srgbClr val="281C2C"/>
                </a:solidFill>
              </a:rPr>
              <a:t> </a:t>
            </a:r>
            <a:r>
              <a:rPr lang="en-GB" sz="2300" b="1" dirty="0" err="1">
                <a:solidFill>
                  <a:srgbClr val="281C2C"/>
                </a:solidFill>
              </a:rPr>
              <a:t>sidenummer</a:t>
            </a:r>
            <a:r>
              <a:rPr lang="en-GB" sz="2300" b="1" dirty="0">
                <a:solidFill>
                  <a:srgbClr val="281C2C"/>
                </a:solidFill>
              </a:rPr>
              <a:t>, </a:t>
            </a:r>
            <a:r>
              <a:rPr lang="en-GB" sz="2300" b="1" dirty="0" err="1">
                <a:solidFill>
                  <a:srgbClr val="281C2C"/>
                </a:solidFill>
              </a:rPr>
              <a:t>dato</a:t>
            </a:r>
            <a:r>
              <a:rPr lang="en-GB" sz="2300" b="1" dirty="0">
                <a:solidFill>
                  <a:srgbClr val="281C2C"/>
                </a:solidFill>
              </a:rPr>
              <a:t> </a:t>
            </a:r>
            <a:r>
              <a:rPr lang="en-GB" sz="2300" b="1" dirty="0" err="1">
                <a:solidFill>
                  <a:srgbClr val="281C2C"/>
                </a:solidFill>
              </a:rPr>
              <a:t>og</a:t>
            </a:r>
            <a:r>
              <a:rPr lang="en-GB" sz="2300" b="1" dirty="0">
                <a:solidFill>
                  <a:srgbClr val="281C2C"/>
                </a:solidFill>
              </a:rPr>
              <a:t> </a:t>
            </a:r>
            <a:r>
              <a:rPr lang="en-GB" sz="2300" b="1" dirty="0" err="1">
                <a:solidFill>
                  <a:srgbClr val="281C2C"/>
                </a:solidFill>
              </a:rPr>
              <a:t>tittel</a:t>
            </a:r>
            <a:r>
              <a:rPr lang="en-GB" sz="2300" b="1" dirty="0">
                <a:solidFill>
                  <a:srgbClr val="281C2C"/>
                </a:solidFill>
              </a:rPr>
              <a:t> </a:t>
            </a:r>
            <a:r>
              <a:rPr lang="en-GB" sz="2300" b="1" dirty="0" err="1">
                <a:solidFill>
                  <a:srgbClr val="281C2C"/>
                </a:solidFill>
              </a:rPr>
              <a:t>på</a:t>
            </a:r>
            <a:r>
              <a:rPr lang="en-GB" sz="2300" b="1" dirty="0">
                <a:solidFill>
                  <a:srgbClr val="281C2C"/>
                </a:solidFill>
              </a:rPr>
              <a:t> </a:t>
            </a:r>
            <a:r>
              <a:rPr lang="en-GB" sz="2300" b="1" dirty="0" err="1">
                <a:solidFill>
                  <a:srgbClr val="281C2C"/>
                </a:solidFill>
              </a:rPr>
              <a:t>presentasjon</a:t>
            </a:r>
            <a:r>
              <a:rPr lang="en-GB" sz="2300" b="1" dirty="0">
                <a:solidFill>
                  <a:srgbClr val="281C2C"/>
                </a:solidFill>
              </a:rPr>
              <a:t>:</a:t>
            </a:r>
          </a:p>
          <a:p>
            <a:pPr defTabSz="1828435">
              <a:defRPr/>
            </a:pPr>
            <a:r>
              <a:rPr lang="en-GB" sz="2300" dirty="0" err="1">
                <a:solidFill>
                  <a:srgbClr val="281C2C"/>
                </a:solidFill>
              </a:rPr>
              <a:t>Klikk</a:t>
            </a:r>
            <a:r>
              <a:rPr lang="en-GB" sz="2300" dirty="0">
                <a:solidFill>
                  <a:srgbClr val="281C2C"/>
                </a:solidFill>
              </a:rPr>
              <a:t>  </a:t>
            </a:r>
            <a:r>
              <a:rPr lang="en-GB" sz="2300" dirty="0" err="1">
                <a:solidFill>
                  <a:srgbClr val="281C2C"/>
                </a:solidFill>
              </a:rPr>
              <a:t>på</a:t>
            </a:r>
            <a:endParaRPr lang="en-GB" sz="2300" dirty="0">
              <a:solidFill>
                <a:srgbClr val="281C2C"/>
              </a:solidFill>
            </a:endParaRPr>
          </a:p>
          <a:p>
            <a:pPr defTabSz="1828435">
              <a:defRPr/>
            </a:pPr>
            <a:r>
              <a:rPr lang="en-GB" sz="2300" dirty="0">
                <a:solidFill>
                  <a:srgbClr val="281C2C"/>
                </a:solidFill>
              </a:rPr>
              <a:t>”Sett Inn” -&gt; </a:t>
            </a:r>
            <a:r>
              <a:rPr lang="en-GB" sz="2300" dirty="0" err="1">
                <a:solidFill>
                  <a:srgbClr val="281C2C"/>
                </a:solidFill>
              </a:rPr>
              <a:t>Topp</a:t>
            </a:r>
            <a:r>
              <a:rPr lang="en-GB" sz="2300" dirty="0">
                <a:solidFill>
                  <a:srgbClr val="281C2C"/>
                </a:solidFill>
              </a:rPr>
              <a:t> </a:t>
            </a:r>
            <a:r>
              <a:rPr lang="en-GB" sz="2300" dirty="0" err="1">
                <a:solidFill>
                  <a:srgbClr val="281C2C"/>
                </a:solidFill>
              </a:rPr>
              <a:t>og</a:t>
            </a:r>
            <a:r>
              <a:rPr lang="en-GB" sz="2300" dirty="0">
                <a:solidFill>
                  <a:srgbClr val="281C2C"/>
                </a:solidFill>
              </a:rPr>
              <a:t> </a:t>
            </a:r>
            <a:r>
              <a:rPr lang="en-GB" sz="2300" dirty="0" err="1">
                <a:solidFill>
                  <a:srgbClr val="281C2C"/>
                </a:solidFill>
              </a:rPr>
              <a:t>bunntekst</a:t>
            </a:r>
            <a:endParaRPr lang="en-GB" sz="2300" dirty="0">
              <a:solidFill>
                <a:srgbClr val="281C2C"/>
              </a:solidFill>
            </a:endParaRPr>
          </a:p>
          <a:p>
            <a:pPr defTabSz="1828435">
              <a:defRPr/>
            </a:pPr>
            <a:r>
              <a:rPr lang="en-GB" sz="2300" dirty="0">
                <a:solidFill>
                  <a:srgbClr val="281C2C"/>
                </a:solidFill>
              </a:rPr>
              <a:t>- </a:t>
            </a:r>
            <a:r>
              <a:rPr lang="en-GB" sz="2300" dirty="0" err="1">
                <a:solidFill>
                  <a:srgbClr val="281C2C"/>
                </a:solidFill>
              </a:rPr>
              <a:t>Huk</a:t>
            </a:r>
            <a:r>
              <a:rPr lang="en-GB" sz="2300" dirty="0">
                <a:solidFill>
                  <a:srgbClr val="281C2C"/>
                </a:solidFill>
              </a:rPr>
              <a:t> </a:t>
            </a:r>
            <a:r>
              <a:rPr lang="en-GB" sz="2300" dirty="0" err="1">
                <a:solidFill>
                  <a:srgbClr val="281C2C"/>
                </a:solidFill>
              </a:rPr>
              <a:t>av</a:t>
            </a:r>
            <a:r>
              <a:rPr lang="en-GB" sz="2300" dirty="0">
                <a:solidFill>
                  <a:srgbClr val="281C2C"/>
                </a:solidFill>
              </a:rPr>
              <a:t> for </a:t>
            </a:r>
            <a:r>
              <a:rPr lang="en-GB" sz="2300" dirty="0" err="1">
                <a:solidFill>
                  <a:srgbClr val="281C2C"/>
                </a:solidFill>
              </a:rPr>
              <a:t>ønsket</a:t>
            </a:r>
            <a:r>
              <a:rPr lang="en-GB" sz="2300" dirty="0">
                <a:solidFill>
                  <a:srgbClr val="281C2C"/>
                </a:solidFill>
              </a:rPr>
              <a:t> </a:t>
            </a:r>
            <a:r>
              <a:rPr lang="en-GB" sz="2300" dirty="0" err="1">
                <a:solidFill>
                  <a:srgbClr val="281C2C"/>
                </a:solidFill>
              </a:rPr>
              <a:t>tekst</a:t>
            </a:r>
            <a:r>
              <a:rPr lang="en-GB" sz="2300" dirty="0">
                <a:solidFill>
                  <a:srgbClr val="281C2C"/>
                </a:solidFill>
              </a:rPr>
              <a:t>.</a:t>
            </a:r>
          </a:p>
        </p:txBody>
      </p:sp>
      <p:cxnSp>
        <p:nvCxnSpPr>
          <p:cNvPr id="6" name="Vinkel 5"/>
          <p:cNvCxnSpPr/>
          <p:nvPr userDrawn="1"/>
        </p:nvCxnSpPr>
        <p:spPr>
          <a:xfrm>
            <a:off x="-3073198" y="11969750"/>
            <a:ext cx="2209656" cy="12954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746" y="593303"/>
            <a:ext cx="19585175" cy="228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746" y="3185595"/>
            <a:ext cx="19585175" cy="905192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7" y="12628800"/>
            <a:ext cx="2004161" cy="432000"/>
          </a:xfrm>
          <a:prstGeom prst="rect">
            <a:avLst/>
          </a:prstGeom>
        </p:spPr>
        <p:txBody>
          <a:bodyPr lIns="143979" tIns="91426" rIns="0" bIns="9142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8435">
              <a:defRPr/>
            </a:pPr>
            <a:fld id="{DA2BD35D-A3E1-4509-A475-9B35C4AA3138}" type="datetime4">
              <a:rPr lang="en-GB" smtClean="0">
                <a:solidFill>
                  <a:srgbClr val="281C2C"/>
                </a:solidFill>
              </a:rPr>
              <a:pPr defTabSz="1828435">
                <a:defRPr/>
              </a:pPr>
              <a:t>03 April 2019</a:t>
            </a:fld>
            <a:endParaRPr lang="en-GB" dirty="0">
              <a:solidFill>
                <a:srgbClr val="281C2C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058" y="12628800"/>
            <a:ext cx="11376525" cy="432000"/>
          </a:xfrm>
          <a:prstGeom prst="rect">
            <a:avLst/>
          </a:prstGeom>
        </p:spPr>
        <p:txBody>
          <a:bodyPr lIns="182853" tIns="91426" rIns="0" bIns="9142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8435">
              <a:defRPr/>
            </a:pPr>
            <a:r>
              <a:rPr lang="en-GB">
                <a:solidFill>
                  <a:srgbClr val="281C2C"/>
                </a:solidFill>
              </a:rPr>
              <a:t>Tittel på presentasjonen</a:t>
            </a:r>
            <a:endParaRPr lang="en-GB" dirty="0">
              <a:solidFill>
                <a:srgbClr val="281C2C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509" y="12628800"/>
            <a:ext cx="1007219" cy="432000"/>
          </a:xfrm>
          <a:prstGeom prst="rect">
            <a:avLst/>
          </a:prstGeom>
        </p:spPr>
        <p:txBody>
          <a:bodyPr lIns="182853" tIns="91426" rIns="0" bIns="91426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1828435">
              <a:defRPr/>
            </a:pPr>
            <a:fld id="{915A8C69-1E23-4468-AC94-010B558DD334}" type="slidenum">
              <a:rPr lang="en-GB" smtClean="0">
                <a:solidFill>
                  <a:srgbClr val="281C2C"/>
                </a:solidFill>
              </a:rPr>
              <a:pPr defTabSz="1828435">
                <a:defRPr/>
              </a:pPr>
              <a:t>‹#›</a:t>
            </a:fld>
            <a:endParaRPr lang="en-GB" dirty="0">
              <a:solidFill>
                <a:srgbClr val="281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11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41" y="5106384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0" y="6649442"/>
            <a:ext cx="11215402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144" indent="0" algn="ctr">
              <a:buNone/>
              <a:defRPr sz="4000"/>
            </a:lvl2pPr>
            <a:lvl3pPr marL="1784232" indent="0" algn="ctr">
              <a:buNone/>
              <a:defRPr sz="3800"/>
            </a:lvl3pPr>
            <a:lvl4pPr marL="2676336" indent="0" algn="ctr">
              <a:buNone/>
              <a:defRPr sz="3200"/>
            </a:lvl4pPr>
            <a:lvl5pPr marL="3568458" indent="0" algn="ctr">
              <a:buNone/>
              <a:defRPr sz="3200"/>
            </a:lvl5pPr>
            <a:lvl6pPr marL="4460576" indent="0" algn="ctr">
              <a:buNone/>
              <a:defRPr sz="3200"/>
            </a:lvl6pPr>
            <a:lvl7pPr marL="5352711" indent="0" algn="ctr">
              <a:buNone/>
              <a:defRPr sz="3200"/>
            </a:lvl7pPr>
            <a:lvl8pPr marL="6244817" indent="0" algn="ctr">
              <a:buNone/>
              <a:defRPr sz="3200"/>
            </a:lvl8pPr>
            <a:lvl9pPr marL="7136925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54" y="1440002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54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1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757793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221732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95" y="5106384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38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144" indent="0" algn="ctr">
              <a:buNone/>
              <a:defRPr sz="4000"/>
            </a:lvl2pPr>
            <a:lvl3pPr marL="1784232" indent="0" algn="ctr">
              <a:buNone/>
              <a:defRPr sz="3800"/>
            </a:lvl3pPr>
            <a:lvl4pPr marL="2676336" indent="0" algn="ctr">
              <a:buNone/>
              <a:defRPr sz="3200"/>
            </a:lvl4pPr>
            <a:lvl5pPr marL="3568458" indent="0" algn="ctr">
              <a:buNone/>
              <a:defRPr sz="3200"/>
            </a:lvl5pPr>
            <a:lvl6pPr marL="4460576" indent="0" algn="ctr">
              <a:buNone/>
              <a:defRPr sz="3200"/>
            </a:lvl6pPr>
            <a:lvl7pPr marL="5352711" indent="0" algn="ctr">
              <a:buNone/>
              <a:defRPr sz="3200"/>
            </a:lvl7pPr>
            <a:lvl8pPr marL="6244817" indent="0" algn="ctr">
              <a:buNone/>
              <a:defRPr sz="3200"/>
            </a:lvl8pPr>
            <a:lvl9pPr marL="7136925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54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54" y="1440002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3543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502301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3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5" y="2559928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033398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139137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6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85619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6216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35" y="2667008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6479546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" y="0"/>
            <a:ext cx="24385848" cy="12832003"/>
          </a:xfrm>
          <a:solidFill>
            <a:schemeClr val="bg2"/>
          </a:solidFill>
        </p:spPr>
        <p:txBody>
          <a:bodyPr tIns="4214933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684479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760"/>
            <a:ext cx="10549318" cy="1080137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144" indent="0">
              <a:buNone/>
              <a:defRPr sz="4000" b="1"/>
            </a:lvl2pPr>
            <a:lvl3pPr marL="1784232" indent="0">
              <a:buNone/>
              <a:defRPr sz="3800" b="1"/>
            </a:lvl3pPr>
            <a:lvl4pPr marL="2676336" indent="0">
              <a:buNone/>
              <a:defRPr sz="3200" b="1"/>
            </a:lvl4pPr>
            <a:lvl5pPr marL="3568458" indent="0">
              <a:buNone/>
              <a:defRPr sz="3200" b="1"/>
            </a:lvl5pPr>
            <a:lvl6pPr marL="4460576" indent="0">
              <a:buNone/>
              <a:defRPr sz="3200" b="1"/>
            </a:lvl6pPr>
            <a:lvl7pPr marL="5352711" indent="0">
              <a:buNone/>
              <a:defRPr sz="3200" b="1"/>
            </a:lvl7pPr>
            <a:lvl8pPr marL="6244817" indent="0">
              <a:buNone/>
              <a:defRPr sz="3200" b="1"/>
            </a:lvl8pPr>
            <a:lvl9pPr marL="7136925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0"/>
            <a:ext cx="10549318" cy="1080137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144" indent="0">
              <a:buNone/>
              <a:defRPr sz="4000" b="1"/>
            </a:lvl2pPr>
            <a:lvl3pPr marL="1784232" indent="0">
              <a:buNone/>
              <a:defRPr sz="3800" b="1"/>
            </a:lvl3pPr>
            <a:lvl4pPr marL="2676336" indent="0">
              <a:buNone/>
              <a:defRPr sz="3200" b="1"/>
            </a:lvl4pPr>
            <a:lvl5pPr marL="3568458" indent="0">
              <a:buNone/>
              <a:defRPr sz="3200" b="1"/>
            </a:lvl5pPr>
            <a:lvl6pPr marL="4460576" indent="0">
              <a:buNone/>
              <a:defRPr sz="3200" b="1"/>
            </a:lvl6pPr>
            <a:lvl7pPr marL="5352711" indent="0">
              <a:buNone/>
              <a:defRPr sz="3200" b="1"/>
            </a:lvl7pPr>
            <a:lvl8pPr marL="6244817" indent="0">
              <a:buNone/>
              <a:defRPr sz="3200" b="1"/>
            </a:lvl8pPr>
            <a:lvl9pPr marL="7136925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4"/>
            <a:ext cx="10549318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8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9349357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6226950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99750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7645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41697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5942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03218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4283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324121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05" indent="0">
              <a:buNone/>
              <a:defRPr sz="4000" b="1"/>
            </a:lvl2pPr>
            <a:lvl3pPr marL="1783955" indent="0">
              <a:buNone/>
              <a:defRPr sz="3800" b="1"/>
            </a:lvl3pPr>
            <a:lvl4pPr marL="2675919" indent="0">
              <a:buNone/>
              <a:defRPr sz="3100" b="1"/>
            </a:lvl4pPr>
            <a:lvl5pPr marL="3567900" indent="0">
              <a:buNone/>
              <a:defRPr sz="3100" b="1"/>
            </a:lvl5pPr>
            <a:lvl6pPr marL="4459884" indent="0">
              <a:buNone/>
              <a:defRPr sz="3100" b="1"/>
            </a:lvl6pPr>
            <a:lvl7pPr marL="5351874" indent="0">
              <a:buNone/>
              <a:defRPr sz="3100" b="1"/>
            </a:lvl7pPr>
            <a:lvl8pPr marL="6243843" indent="0">
              <a:buNone/>
              <a:defRPr sz="3100" b="1"/>
            </a:lvl8pPr>
            <a:lvl9pPr marL="7135810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05" indent="0">
              <a:buNone/>
              <a:defRPr sz="4000" b="1"/>
            </a:lvl2pPr>
            <a:lvl3pPr marL="1783955" indent="0">
              <a:buNone/>
              <a:defRPr sz="3800" b="1"/>
            </a:lvl3pPr>
            <a:lvl4pPr marL="2675919" indent="0">
              <a:buNone/>
              <a:defRPr sz="3100" b="1"/>
            </a:lvl4pPr>
            <a:lvl5pPr marL="3567900" indent="0">
              <a:buNone/>
              <a:defRPr sz="3100" b="1"/>
            </a:lvl5pPr>
            <a:lvl6pPr marL="4459884" indent="0">
              <a:buNone/>
              <a:defRPr sz="3100" b="1"/>
            </a:lvl6pPr>
            <a:lvl7pPr marL="5351874" indent="0">
              <a:buNone/>
              <a:defRPr sz="3100" b="1"/>
            </a:lvl7pPr>
            <a:lvl8pPr marL="6243843" indent="0">
              <a:buNone/>
              <a:defRPr sz="3100" b="1"/>
            </a:lvl8pPr>
            <a:lvl9pPr marL="7135810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741462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190202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651144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95" indent="0" algn="ctr">
              <a:buNone/>
              <a:defRPr sz="4000"/>
            </a:lvl2pPr>
            <a:lvl3pPr marL="1784131" indent="0" algn="ctr">
              <a:buNone/>
              <a:defRPr sz="3800"/>
            </a:lvl3pPr>
            <a:lvl4pPr marL="2676186" indent="0" algn="ctr">
              <a:buNone/>
              <a:defRPr sz="3100"/>
            </a:lvl4pPr>
            <a:lvl5pPr marL="3568262" indent="0" algn="ctr">
              <a:buNone/>
              <a:defRPr sz="3100"/>
            </a:lvl5pPr>
            <a:lvl6pPr marL="4460329" indent="0" algn="ctr">
              <a:buNone/>
              <a:defRPr sz="3100"/>
            </a:lvl6pPr>
            <a:lvl7pPr marL="5352410" indent="0" algn="ctr">
              <a:buNone/>
              <a:defRPr sz="3100"/>
            </a:lvl7pPr>
            <a:lvl8pPr marL="6244467" indent="0" algn="ctr">
              <a:buNone/>
              <a:defRPr sz="3100"/>
            </a:lvl8pPr>
            <a:lvl9pPr marL="713652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25" y="2376000"/>
            <a:ext cx="2289600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8540503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2095" indent="0" algn="ctr">
              <a:buNone/>
              <a:defRPr sz="4000"/>
            </a:lvl2pPr>
            <a:lvl3pPr marL="1784131" indent="0" algn="ctr">
              <a:buNone/>
              <a:defRPr sz="3800"/>
            </a:lvl3pPr>
            <a:lvl4pPr marL="2676186" indent="0" algn="ctr">
              <a:buNone/>
              <a:defRPr sz="3100"/>
            </a:lvl4pPr>
            <a:lvl5pPr marL="3568262" indent="0" algn="ctr">
              <a:buNone/>
              <a:defRPr sz="3100"/>
            </a:lvl5pPr>
            <a:lvl6pPr marL="4460329" indent="0" algn="ctr">
              <a:buNone/>
              <a:defRPr sz="3100"/>
            </a:lvl6pPr>
            <a:lvl7pPr marL="5352410" indent="0" algn="ctr">
              <a:buNone/>
              <a:defRPr sz="3100"/>
            </a:lvl7pPr>
            <a:lvl8pPr marL="6244467" indent="0" algn="ctr">
              <a:buNone/>
              <a:defRPr sz="3100"/>
            </a:lvl8pPr>
            <a:lvl9pPr marL="7136527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3504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95267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906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823964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992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08391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6119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153449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4704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5765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5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95" indent="0">
              <a:buNone/>
              <a:defRPr sz="4000" b="1"/>
            </a:lvl2pPr>
            <a:lvl3pPr marL="1784131" indent="0">
              <a:buNone/>
              <a:defRPr sz="3800" b="1"/>
            </a:lvl3pPr>
            <a:lvl4pPr marL="2676186" indent="0">
              <a:buNone/>
              <a:defRPr sz="3100" b="1"/>
            </a:lvl4pPr>
            <a:lvl5pPr marL="3568262" indent="0">
              <a:buNone/>
              <a:defRPr sz="3100" b="1"/>
            </a:lvl5pPr>
            <a:lvl6pPr marL="4460329" indent="0">
              <a:buNone/>
              <a:defRPr sz="3100" b="1"/>
            </a:lvl6pPr>
            <a:lvl7pPr marL="5352410" indent="0">
              <a:buNone/>
              <a:defRPr sz="3100" b="1"/>
            </a:lvl7pPr>
            <a:lvl8pPr marL="6244467" indent="0">
              <a:buNone/>
              <a:defRPr sz="3100" b="1"/>
            </a:lvl8pPr>
            <a:lvl9pPr marL="713652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59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2095" indent="0">
              <a:buNone/>
              <a:defRPr sz="4000" b="1"/>
            </a:lvl2pPr>
            <a:lvl3pPr marL="1784131" indent="0">
              <a:buNone/>
              <a:defRPr sz="3800" b="1"/>
            </a:lvl3pPr>
            <a:lvl4pPr marL="2676186" indent="0">
              <a:buNone/>
              <a:defRPr sz="3100" b="1"/>
            </a:lvl4pPr>
            <a:lvl5pPr marL="3568262" indent="0">
              <a:buNone/>
              <a:defRPr sz="3100" b="1"/>
            </a:lvl5pPr>
            <a:lvl6pPr marL="4460329" indent="0">
              <a:buNone/>
              <a:defRPr sz="3100" b="1"/>
            </a:lvl6pPr>
            <a:lvl7pPr marL="5352410" indent="0">
              <a:buNone/>
              <a:defRPr sz="3100" b="1"/>
            </a:lvl7pPr>
            <a:lvl8pPr marL="6244467" indent="0">
              <a:buNone/>
              <a:defRPr sz="3100" b="1"/>
            </a:lvl8pPr>
            <a:lvl9pPr marL="7136527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583538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96015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86526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Startside Alternativ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6547144"/>
            <a:ext cx="24430037" cy="7168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Startside Alternativ 1</a:t>
            </a:r>
          </a:p>
        </p:txBody>
      </p:sp>
      <p:cxnSp>
        <p:nvCxnSpPr>
          <p:cNvPr id="19" name="Rett linje 18"/>
          <p:cNvCxnSpPr/>
          <p:nvPr/>
        </p:nvCxnSpPr>
        <p:spPr>
          <a:xfrm>
            <a:off x="2124875" y="737325"/>
            <a:ext cx="0" cy="65249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18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98756" y="548984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Sted, dato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Presentasjonstittel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2" name="TekstSylinder 11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28633917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Startside Alternativ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6547144"/>
            <a:ext cx="24430037" cy="7168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Presentasjonstittel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Startside Alternativ 2</a:t>
            </a:r>
          </a:p>
        </p:txBody>
      </p:sp>
      <p:cxnSp>
        <p:nvCxnSpPr>
          <p:cNvPr id="19" name="Rett linje 18"/>
          <p:cNvCxnSpPr/>
          <p:nvPr/>
        </p:nvCxnSpPr>
        <p:spPr>
          <a:xfrm>
            <a:off x="2124875" y="737325"/>
            <a:ext cx="0" cy="65249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18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98756" y="548984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Sted, dato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1" name="TekstSylinder 10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13687510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Startside m eget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3"/>
          <p:cNvSpPr>
            <a:spLocks noGrp="1"/>
          </p:cNvSpPr>
          <p:nvPr>
            <p:ph type="pic" sz="quarter" idx="21" hasCustomPrompt="1"/>
          </p:nvPr>
        </p:nvSpPr>
        <p:spPr>
          <a:xfrm>
            <a:off x="0" y="6543911"/>
            <a:ext cx="24382413" cy="717209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Klikk ikonet for å legge til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Presentasjonstittel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Startside – sett inn eget bilde</a:t>
            </a:r>
          </a:p>
        </p:txBody>
      </p: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18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Navn Foredragsholder</a:t>
            </a:r>
          </a:p>
        </p:txBody>
      </p:sp>
      <p:sp>
        <p:nvSpPr>
          <p:cNvPr id="39" name="Plassholder for tekst 38"/>
          <p:cNvSpPr>
            <a:spLocks noGrp="1"/>
          </p:cNvSpPr>
          <p:nvPr>
            <p:ph type="body" sz="quarter" idx="18" hasCustomPrompt="1"/>
          </p:nvPr>
        </p:nvSpPr>
        <p:spPr>
          <a:xfrm>
            <a:off x="2398756" y="5489848"/>
            <a:ext cx="19582725" cy="576000"/>
          </a:xfrm>
        </p:spPr>
        <p:txBody>
          <a:bodyPr lIns="0" anchor="ctr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Sted, dato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2109463" y="737320"/>
            <a:ext cx="35998" cy="65232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3" name="TekstSylinder 12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2154867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Kapittel/tema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20" hasCustomPrompt="1"/>
          </p:nvPr>
        </p:nvSpPr>
        <p:spPr>
          <a:xfrm>
            <a:off x="0" y="6543911"/>
            <a:ext cx="24382413" cy="7172098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24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Klikk ikonet for å legge til bilde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Kapittel / Temaside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21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Kapittel og temaside</a:t>
            </a:r>
          </a:p>
        </p:txBody>
      </p:sp>
      <p:sp>
        <p:nvSpPr>
          <p:cNvPr id="15" name="Plassholder for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2109463" y="737320"/>
            <a:ext cx="35998" cy="65232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 sz="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0" name="TekstSylinder 9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2005465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sk TEKST MED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/>
        </p:nvSpPr>
        <p:spPr>
          <a:xfrm>
            <a:off x="-190486" y="-552449"/>
            <a:ext cx="1113294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mal:Tekst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med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kulepunkter</a:t>
            </a:r>
            <a:endParaRPr lang="nb-NO" sz="2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TekstSylinder 4"/>
          <p:cNvSpPr txBox="1"/>
          <p:nvPr/>
        </p:nvSpPr>
        <p:spPr>
          <a:xfrm>
            <a:off x="-5522022" y="9450328"/>
            <a:ext cx="4897649" cy="2395464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Tips bunntekst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For å få sidenummer, dato og tittel på presentasjon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Klikk  på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”Sett Inn” -&gt; Topp og bunntekst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- Huk av for ønsket tekst.</a:t>
            </a:r>
          </a:p>
        </p:txBody>
      </p:sp>
      <p:cxnSp>
        <p:nvCxnSpPr>
          <p:cNvPr id="6" name="Vinkel 5"/>
          <p:cNvCxnSpPr/>
          <p:nvPr/>
        </p:nvCxnSpPr>
        <p:spPr>
          <a:xfrm>
            <a:off x="-3073196" y="11969750"/>
            <a:ext cx="2209656" cy="12954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749" y="593304"/>
            <a:ext cx="19585176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749" y="3185594"/>
            <a:ext cx="19585176" cy="90519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8106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UTEN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/>
        </p:nvSpPr>
        <p:spPr>
          <a:xfrm>
            <a:off x="-190472" y="-552449"/>
            <a:ext cx="8732800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uten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kulepunkter</a:t>
            </a:r>
            <a:endParaRPr lang="nb-NO" sz="2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444" y="593304"/>
            <a:ext cx="19582725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4" y="3185594"/>
            <a:ext cx="19582725" cy="9051928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-5522022" y="9450328"/>
            <a:ext cx="4897649" cy="2395464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Tips bunntekst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For å få sidenummer, dato og tittel på presentasjon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Klikk  på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”Sett Inn” -&gt; Topp og bunntekst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- Huk av for ønsket tekst.</a:t>
            </a:r>
          </a:p>
        </p:txBody>
      </p:sp>
      <p:cxnSp>
        <p:nvCxnSpPr>
          <p:cNvPr id="13" name="Vinkel 12"/>
          <p:cNvCxnSpPr/>
          <p:nvPr/>
        </p:nvCxnSpPr>
        <p:spPr>
          <a:xfrm>
            <a:off x="-3073196" y="11969750"/>
            <a:ext cx="2209656" cy="12954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310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med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kulepunkter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- 1 vertikal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849" y="593304"/>
            <a:ext cx="14618963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9" y="3185594"/>
            <a:ext cx="14617982" cy="9051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7542858" y="-2"/>
            <a:ext cx="6839555" cy="12240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1524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med kulepunkter - 2 vertikale bild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849" y="593304"/>
            <a:ext cx="14618963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9" y="3185594"/>
            <a:ext cx="14617982" cy="9051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7542858" y="458"/>
            <a:ext cx="6839555" cy="610690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3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17542858" y="6118744"/>
            <a:ext cx="6839555" cy="610690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2119088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med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kulepunkter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– 3 vertikale bild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444" y="593304"/>
            <a:ext cx="14615049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4" y="3185594"/>
            <a:ext cx="14615049" cy="9051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7542858" y="456"/>
            <a:ext cx="6839555" cy="410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17542858" y="4079870"/>
            <a:ext cx="6839555" cy="410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0" name="Plassholder for bilde 7"/>
          <p:cNvSpPr>
            <a:spLocks noGrp="1"/>
          </p:cNvSpPr>
          <p:nvPr>
            <p:ph type="pic" sz="quarter" idx="15"/>
          </p:nvPr>
        </p:nvSpPr>
        <p:spPr>
          <a:xfrm>
            <a:off x="17542858" y="8154600"/>
            <a:ext cx="6839555" cy="410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4" name="TekstSylinder 13"/>
          <p:cNvSpPr txBox="1"/>
          <p:nvPr/>
        </p:nvSpPr>
        <p:spPr>
          <a:xfrm>
            <a:off x="-6146337" y="10598172"/>
            <a:ext cx="5375983" cy="1287433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Tips  bilde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For best oppløsning anbefales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jpg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og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png-format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.</a:t>
            </a:r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8357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med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kulepunkter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– 4 vertikale bild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444" y="593304"/>
            <a:ext cx="14615049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4" y="3185594"/>
            <a:ext cx="14615049" cy="9051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7540000" y="0"/>
            <a:ext cx="6839555" cy="3096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17540000" y="3113584"/>
            <a:ext cx="6839555" cy="30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0" name="Plassholder for bilde 7"/>
          <p:cNvSpPr>
            <a:spLocks noGrp="1"/>
          </p:cNvSpPr>
          <p:nvPr>
            <p:ph type="pic" sz="quarter" idx="15"/>
          </p:nvPr>
        </p:nvSpPr>
        <p:spPr>
          <a:xfrm>
            <a:off x="17540000" y="6137920"/>
            <a:ext cx="6839555" cy="3096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4" name="Plassholder for bilde 7"/>
          <p:cNvSpPr>
            <a:spLocks noGrp="1"/>
          </p:cNvSpPr>
          <p:nvPr>
            <p:ph type="pic" sz="quarter" idx="19"/>
          </p:nvPr>
        </p:nvSpPr>
        <p:spPr>
          <a:xfrm>
            <a:off x="17540000" y="9213520"/>
            <a:ext cx="6839555" cy="30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5" name="TekstSylinder 14"/>
          <p:cNvSpPr txBox="1"/>
          <p:nvPr/>
        </p:nvSpPr>
        <p:spPr>
          <a:xfrm>
            <a:off x="-6146337" y="10598172"/>
            <a:ext cx="5375983" cy="1287433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Tips  bilde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For best oppløsning anbefales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jpg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 og </a:t>
            </a:r>
            <a:r>
              <a:rPr lang="nb-NO" sz="2400" dirty="0" err="1">
                <a:solidFill>
                  <a:prstClr val="black"/>
                </a:solidFill>
                <a:latin typeface="Arial" charset="0"/>
              </a:rPr>
              <a:t>png-format</a:t>
            </a:r>
            <a:r>
              <a:rPr lang="nb-NO" sz="2400" dirty="0">
                <a:solidFill>
                  <a:prstClr val="black"/>
                </a:solidFill>
                <a:latin typeface="Arial" charset="0"/>
              </a:rPr>
              <a:t>.</a:t>
            </a:r>
          </a:p>
        </p:txBody>
      </p:sp>
      <p:sp>
        <p:nvSpPr>
          <p:cNvPr id="13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2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6356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ligg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ekst med liggende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444" y="593304"/>
            <a:ext cx="19582725" cy="2286000"/>
          </a:xfrm>
        </p:spPr>
        <p:txBody>
          <a:bodyPr/>
          <a:lstStyle/>
          <a:p>
            <a:r>
              <a:rPr lang="nb-NO" noProof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397444" y="3185603"/>
            <a:ext cx="19582725" cy="468051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-2858" y="7935040"/>
            <a:ext cx="24382413" cy="43024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algn="ctr">
              <a:buNone/>
              <a:defRPr sz="1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0322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ekst med utfall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1 utfallende bilde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9"/>
            <a:ext cx="24382413" cy="122343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Klikk ikonet for å legge til bilde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222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Diagram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6644" y="593728"/>
            <a:ext cx="19582725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iagram 8"/>
          <p:cNvSpPr>
            <a:spLocks noGrp="1"/>
          </p:cNvSpPr>
          <p:nvPr>
            <p:ph type="chart" sz="quarter" idx="13"/>
          </p:nvPr>
        </p:nvSpPr>
        <p:spPr>
          <a:xfrm>
            <a:off x="2397444" y="3184532"/>
            <a:ext cx="19582725" cy="9051532"/>
          </a:xfrm>
        </p:spPr>
        <p:txBody>
          <a:bodyPr/>
          <a:lstStyle>
            <a:lvl1pPr>
              <a:buNone/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t diagram</a:t>
            </a:r>
            <a:endParaRPr lang="nb-NO" noProof="0" dirty="0"/>
          </a:p>
        </p:txBody>
      </p:sp>
      <p:sp>
        <p:nvSpPr>
          <p:cNvPr id="15" name="TekstSylinder 14"/>
          <p:cNvSpPr txBox="1"/>
          <p:nvPr/>
        </p:nvSpPr>
        <p:spPr>
          <a:xfrm>
            <a:off x="-5522022" y="9450328"/>
            <a:ext cx="4897649" cy="2395464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Tips bunntekst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b="1" dirty="0">
                <a:solidFill>
                  <a:prstClr val="black"/>
                </a:solidFill>
                <a:latin typeface="Arial" charset="0"/>
              </a:rPr>
              <a:t>For å få sidenummer, dato og tittel på presentasjon: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Klikk  på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”Sett Inn” -&gt; Topp og bunntekst</a:t>
            </a:r>
          </a:p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- Huk av for ønsket tekst.</a:t>
            </a:r>
          </a:p>
        </p:txBody>
      </p:sp>
      <p:cxnSp>
        <p:nvCxnSpPr>
          <p:cNvPr id="16" name="Vinkel 15"/>
          <p:cNvCxnSpPr/>
          <p:nvPr/>
        </p:nvCxnSpPr>
        <p:spPr>
          <a:xfrm>
            <a:off x="-3073196" y="11969750"/>
            <a:ext cx="2209656" cy="12954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9774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abel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7444" y="593728"/>
            <a:ext cx="19582725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0" name="Plassholder for tabell 9"/>
          <p:cNvSpPr>
            <a:spLocks noGrp="1"/>
          </p:cNvSpPr>
          <p:nvPr>
            <p:ph type="tbl" sz="quarter" idx="13"/>
          </p:nvPr>
        </p:nvSpPr>
        <p:spPr>
          <a:xfrm>
            <a:off x="2397444" y="3184532"/>
            <a:ext cx="19582725" cy="9051532"/>
          </a:xfrm>
        </p:spPr>
        <p:txBody>
          <a:bodyPr/>
          <a:lstStyle>
            <a:lvl1pPr>
              <a:buNone/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ikonet for å legge til en tabell</a:t>
            </a:r>
            <a:endParaRPr lang="nb-NO" noProof="0" dirty="0"/>
          </a:p>
        </p:txBody>
      </p:sp>
      <p:sp>
        <p:nvSpPr>
          <p:cNvPr id="8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4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197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orsk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-190084" y="-609599"/>
            <a:ext cx="20255183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To innholdsdeler - Sammenlikning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96644" y="593728"/>
            <a:ext cx="19582725" cy="2286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97444" y="3182798"/>
            <a:ext cx="9719367" cy="9051928"/>
          </a:xfrm>
        </p:spPr>
        <p:txBody>
          <a:bodyPr/>
          <a:lstStyle>
            <a:lvl1pPr>
              <a:defRPr sz="4800"/>
            </a:lvl1pPr>
            <a:lvl2pPr>
              <a:defRPr sz="43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394393" y="3182798"/>
            <a:ext cx="9575377" cy="9051928"/>
          </a:xfrm>
        </p:spPr>
        <p:txBody>
          <a:bodyPr/>
          <a:lstStyle>
            <a:lvl1pPr>
              <a:defRPr sz="4800"/>
            </a:lvl1pPr>
            <a:lvl2pPr>
              <a:defRPr sz="43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</a:rPr>
              <a:pPr>
                <a:defRPr/>
              </a:pPr>
              <a:t>3. april 2019</a:t>
            </a:fld>
            <a:endParaRPr lang="nb-NO" dirty="0">
              <a:solidFill>
                <a:prstClr val="black"/>
              </a:solidFill>
            </a:endParaRPr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>
                <a:solidFill>
                  <a:prstClr val="black"/>
                </a:solidFill>
              </a:rPr>
              <a:t>Tittel på presentasjonen</a:t>
            </a:r>
          </a:p>
        </p:txBody>
      </p:sp>
      <p:sp>
        <p:nvSpPr>
          <p:cNvPr id="1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rIns="0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0385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Sluttside Alternativ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6547144"/>
            <a:ext cx="24430037" cy="7168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Sluttside Alternativ 1</a:t>
            </a:r>
          </a:p>
        </p:txBody>
      </p:sp>
      <p:cxnSp>
        <p:nvCxnSpPr>
          <p:cNvPr id="19" name="Rett linje 18"/>
          <p:cNvCxnSpPr/>
          <p:nvPr/>
        </p:nvCxnSpPr>
        <p:spPr>
          <a:xfrm>
            <a:off x="2124875" y="737325"/>
            <a:ext cx="0" cy="65249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220"/>
            <a:ext cx="19582725" cy="1742608"/>
          </a:xfrm>
        </p:spPr>
        <p:txBody>
          <a:bodyPr lIns="0" anchor="t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Bildekreditering: Slide X: </a:t>
            </a:r>
            <a:r>
              <a:rPr lang="nb-NO" sz="2600" dirty="0"/>
              <a:t>© </a:t>
            </a:r>
            <a:r>
              <a:rPr lang="nb-NO" dirty="0"/>
              <a:t>Fotografens navn, Bildebyrå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Takk for oppmerksomheten!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1" name="TekstSylinder 10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1393119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rsk Sluttside Alternativ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" y="6547144"/>
            <a:ext cx="24430037" cy="7168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Sylinder 7"/>
          <p:cNvSpPr txBox="1"/>
          <p:nvPr/>
        </p:nvSpPr>
        <p:spPr>
          <a:xfrm>
            <a:off x="68" y="-536577"/>
            <a:ext cx="7966615" cy="548769"/>
          </a:xfrm>
          <a:prstGeom prst="rect">
            <a:avLst/>
          </a:prstGeom>
          <a:noFill/>
        </p:spPr>
        <p:txBody>
          <a:bodyPr lIns="178112" tIns="88851" rIns="178112" bIns="88851">
            <a:spAutoFit/>
          </a:bodyPr>
          <a:lstStyle/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2400" dirty="0">
                <a:solidFill>
                  <a:prstClr val="black"/>
                </a:solidFill>
                <a:latin typeface="Arial" charset="0"/>
              </a:rPr>
              <a:t>Norsk mal: Sluttside Alternativ 2</a:t>
            </a:r>
          </a:p>
        </p:txBody>
      </p:sp>
      <p:cxnSp>
        <p:nvCxnSpPr>
          <p:cNvPr id="19" name="Rett linje 18"/>
          <p:cNvCxnSpPr/>
          <p:nvPr/>
        </p:nvCxnSpPr>
        <p:spPr>
          <a:xfrm>
            <a:off x="2124875" y="737325"/>
            <a:ext cx="0" cy="652491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Plassholder for tekst 34"/>
          <p:cNvSpPr>
            <a:spLocks noGrp="1"/>
          </p:cNvSpPr>
          <p:nvPr>
            <p:ph type="body" sz="quarter" idx="17" hasCustomPrompt="1"/>
          </p:nvPr>
        </p:nvSpPr>
        <p:spPr>
          <a:xfrm>
            <a:off x="2398756" y="4769220"/>
            <a:ext cx="19582725" cy="1742608"/>
          </a:xfrm>
        </p:spPr>
        <p:txBody>
          <a:bodyPr lIns="0" anchor="t" anchorCtr="0"/>
          <a:lstStyle>
            <a:lvl1pPr marL="0" indent="0">
              <a:buNone/>
              <a:defRPr sz="2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dirty="0"/>
              <a:t>Bildekreditering: Slide X: </a:t>
            </a:r>
            <a:r>
              <a:rPr lang="nb-NO" sz="2600" dirty="0"/>
              <a:t>© </a:t>
            </a:r>
            <a:r>
              <a:rPr lang="nb-NO" dirty="0"/>
              <a:t>Fotografens navn, Bildebyrå</a:t>
            </a:r>
          </a:p>
        </p:txBody>
      </p:sp>
      <p:sp>
        <p:nvSpPr>
          <p:cNvPr id="9" name="Plassholder for tekst 4"/>
          <p:cNvSpPr>
            <a:spLocks noGrp="1"/>
          </p:cNvSpPr>
          <p:nvPr>
            <p:ph type="body" sz="quarter" idx="20" hasCustomPrompt="1"/>
          </p:nvPr>
        </p:nvSpPr>
        <p:spPr>
          <a:xfrm>
            <a:off x="2397444" y="2249488"/>
            <a:ext cx="19582725" cy="2289600"/>
          </a:xfrm>
        </p:spPr>
        <p:txBody>
          <a:bodyPr lIns="0" anchor="b" anchorCtr="0"/>
          <a:lstStyle>
            <a:lvl1pPr marL="0" indent="0">
              <a:buNone/>
              <a:defRPr sz="6200" b="1"/>
            </a:lvl1pPr>
          </a:lstStyle>
          <a:p>
            <a:pPr lvl="0"/>
            <a:r>
              <a:rPr lang="nb-NO" dirty="0"/>
              <a:t>Takk for oppmerksomheten!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120" y="1054540"/>
            <a:ext cx="597372" cy="725428"/>
          </a:xfrm>
          <a:prstGeom prst="rect">
            <a:avLst/>
          </a:prstGeom>
        </p:spPr>
      </p:pic>
      <p:sp>
        <p:nvSpPr>
          <p:cNvPr id="12" name="TekstSylinder 11"/>
          <p:cNvSpPr txBox="1"/>
          <p:nvPr/>
        </p:nvSpPr>
        <p:spPr>
          <a:xfrm>
            <a:off x="2222863" y="934312"/>
            <a:ext cx="9320321" cy="899635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8909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nb-NO" sz="2600" dirty="0">
                <a:solidFill>
                  <a:prstClr val="black"/>
                </a:solidFill>
                <a:latin typeface="Arial" charset="0"/>
              </a:rPr>
              <a:t>Helse- og</a:t>
            </a:r>
            <a:br>
              <a:rPr lang="nb-NO" sz="2600" dirty="0">
                <a:solidFill>
                  <a:prstClr val="black"/>
                </a:solidFill>
                <a:latin typeface="Arial" charset="0"/>
              </a:rPr>
            </a:br>
            <a:r>
              <a:rPr lang="nb-NO" sz="2600" dirty="0">
                <a:solidFill>
                  <a:prstClr val="black"/>
                </a:solidFill>
                <a:latin typeface="Arial" charset="0"/>
              </a:rPr>
              <a:t>omsorgsdepartementet</a:t>
            </a:r>
          </a:p>
        </p:txBody>
      </p:sp>
    </p:spTree>
    <p:extLst>
      <p:ext uri="{BB962C8B-B14F-4D97-AF65-F5344CB8AC3E}">
        <p14:creationId xmlns:p14="http://schemas.microsoft.com/office/powerpoint/2010/main" val="8152421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4" descr="PPT_pres_underlag-1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" y="0"/>
            <a:ext cx="24378795" cy="13713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65484" y="4993595"/>
            <a:ext cx="13754923" cy="2447742"/>
          </a:xfrm>
        </p:spPr>
        <p:txBody>
          <a:bodyPr/>
          <a:lstStyle>
            <a:lvl1pPr>
              <a:defRPr sz="6900"/>
            </a:lvl1pPr>
          </a:lstStyle>
          <a:p>
            <a:pPr lvl="0"/>
            <a:r>
              <a:rPr lang="nb-NO" noProof="0"/>
              <a:t>Klikk for å redigere tittelstil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5484" y="7671524"/>
            <a:ext cx="13754923" cy="1448488"/>
          </a:xfrm>
        </p:spPr>
        <p:txBody>
          <a:bodyPr/>
          <a:lstStyle>
            <a:lvl1pPr marL="0" indent="0">
              <a:buFont typeface="Verdana" pitchFamily="34" charset="0"/>
              <a:buNone/>
              <a:defRPr sz="2600"/>
            </a:lvl1pPr>
          </a:lstStyle>
          <a:p>
            <a:pPr lvl="0"/>
            <a:r>
              <a:rPr lang="nb-NO" noProof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413309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964724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926372" y="8814953"/>
            <a:ext cx="20726499" cy="2724194"/>
          </a:xfrm>
        </p:spPr>
        <p:txBody>
          <a:bodyPr/>
          <a:lstStyle>
            <a:lvl1pPr algn="l">
              <a:defRPr sz="69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926372" y="5814134"/>
            <a:ext cx="20726499" cy="3000648"/>
          </a:xfrm>
        </p:spPr>
        <p:txBody>
          <a:bodyPr anchor="b"/>
          <a:lstStyle>
            <a:lvl1pPr marL="0" indent="0">
              <a:buNone/>
              <a:defRPr sz="3800"/>
            </a:lvl1pPr>
            <a:lvl2pPr marL="773377" indent="0">
              <a:buNone/>
              <a:defRPr sz="3100"/>
            </a:lvl2pPr>
            <a:lvl3pPr marL="1546970" indent="0">
              <a:buNone/>
              <a:defRPr sz="2900"/>
            </a:lvl3pPr>
            <a:lvl4pPr marL="2320394" indent="0">
              <a:buNone/>
              <a:defRPr sz="2400"/>
            </a:lvl4pPr>
            <a:lvl5pPr marL="3093902" indent="0">
              <a:buNone/>
              <a:defRPr sz="2400"/>
            </a:lvl5pPr>
            <a:lvl6pPr marL="3867341" indent="0">
              <a:buNone/>
              <a:defRPr sz="2400"/>
            </a:lvl6pPr>
            <a:lvl7pPr marL="4640803" indent="0">
              <a:buNone/>
              <a:defRPr sz="2400"/>
            </a:lvl7pPr>
            <a:lvl8pPr marL="5414273" indent="0">
              <a:buNone/>
              <a:defRPr sz="2400"/>
            </a:lvl8pPr>
            <a:lvl9pPr marL="6187737" indent="0">
              <a:buNone/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FADC2-D482-45C7-B0AD-5E940226729B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0937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81934" y="5284331"/>
            <a:ext cx="10797617" cy="6729854"/>
          </a:xfrm>
        </p:spPr>
        <p:txBody>
          <a:bodyPr/>
          <a:lstStyle>
            <a:lvl1pPr>
              <a:defRPr sz="5000"/>
            </a:lvl1pPr>
            <a:lvl2pPr>
              <a:defRPr sz="43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726932" y="5284331"/>
            <a:ext cx="10797617" cy="6729854"/>
          </a:xfrm>
        </p:spPr>
        <p:txBody>
          <a:bodyPr/>
          <a:lstStyle>
            <a:lvl1pPr>
              <a:defRPr sz="5000"/>
            </a:lvl1pPr>
            <a:lvl2pPr>
              <a:defRPr sz="43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27ACB1-6DA0-40FE-9662-F5D95A7D4C06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0821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20415" y="550034"/>
            <a:ext cx="21942724" cy="228648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20340" y="3069764"/>
            <a:ext cx="10772278" cy="1278588"/>
          </a:xfrm>
        </p:spPr>
        <p:txBody>
          <a:bodyPr anchor="b"/>
          <a:lstStyle>
            <a:lvl1pPr marL="0" indent="0">
              <a:buNone/>
              <a:defRPr sz="4300" b="1"/>
            </a:lvl1pPr>
            <a:lvl2pPr marL="773377" indent="0">
              <a:buNone/>
              <a:defRPr sz="3800" b="1"/>
            </a:lvl2pPr>
            <a:lvl3pPr marL="1546970" indent="0">
              <a:buNone/>
              <a:defRPr sz="3100" b="1"/>
            </a:lvl3pPr>
            <a:lvl4pPr marL="2320394" indent="0">
              <a:buNone/>
              <a:defRPr sz="2900" b="1"/>
            </a:lvl4pPr>
            <a:lvl5pPr marL="3093902" indent="0">
              <a:buNone/>
              <a:defRPr sz="2900" b="1"/>
            </a:lvl5pPr>
            <a:lvl6pPr marL="3867341" indent="0">
              <a:buNone/>
              <a:defRPr sz="2900" b="1"/>
            </a:lvl6pPr>
            <a:lvl7pPr marL="4640803" indent="0">
              <a:buNone/>
              <a:defRPr sz="2900" b="1"/>
            </a:lvl7pPr>
            <a:lvl8pPr marL="5414273" indent="0">
              <a:buNone/>
              <a:defRPr sz="2900" b="1"/>
            </a:lvl8pPr>
            <a:lvl9pPr marL="6187737" indent="0">
              <a:buNone/>
              <a:defRPr sz="29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20340" y="4348377"/>
            <a:ext cx="10772278" cy="7904770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1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386747" y="3069764"/>
            <a:ext cx="10775899" cy="1278588"/>
          </a:xfrm>
        </p:spPr>
        <p:txBody>
          <a:bodyPr anchor="b"/>
          <a:lstStyle>
            <a:lvl1pPr marL="0" indent="0">
              <a:buNone/>
              <a:defRPr sz="4300" b="1"/>
            </a:lvl1pPr>
            <a:lvl2pPr marL="773377" indent="0">
              <a:buNone/>
              <a:defRPr sz="3800" b="1"/>
            </a:lvl2pPr>
            <a:lvl3pPr marL="1546970" indent="0">
              <a:buNone/>
              <a:defRPr sz="3100" b="1"/>
            </a:lvl3pPr>
            <a:lvl4pPr marL="2320394" indent="0">
              <a:buNone/>
              <a:defRPr sz="2900" b="1"/>
            </a:lvl4pPr>
            <a:lvl5pPr marL="3093902" indent="0">
              <a:buNone/>
              <a:defRPr sz="2900" b="1"/>
            </a:lvl5pPr>
            <a:lvl6pPr marL="3867341" indent="0">
              <a:buNone/>
              <a:defRPr sz="2900" b="1"/>
            </a:lvl6pPr>
            <a:lvl7pPr marL="4640803" indent="0">
              <a:buNone/>
              <a:defRPr sz="2900" b="1"/>
            </a:lvl7pPr>
            <a:lvl8pPr marL="5414273" indent="0">
              <a:buNone/>
              <a:defRPr sz="2900" b="1"/>
            </a:lvl8pPr>
            <a:lvl9pPr marL="6187737" indent="0">
              <a:buNone/>
              <a:defRPr sz="29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12386747" y="4348377"/>
            <a:ext cx="10775899" cy="7904770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100"/>
            </a:lvl3pPr>
            <a:lvl4pPr>
              <a:defRPr sz="2900"/>
            </a:lvl4pPr>
            <a:lvl5pPr>
              <a:defRPr sz="29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4A360-EE83-434C-9074-3B88D15C17A9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686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C80E62-BF64-49B6-A561-DACFBEB9FFDE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4607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55623B-79C4-4339-94CA-5EA79E4A253B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3247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5769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20015" y="547235"/>
            <a:ext cx="8021294" cy="2323918"/>
          </a:xfrm>
        </p:spPr>
        <p:txBody>
          <a:bodyPr anchor="b"/>
          <a:lstStyle>
            <a:lvl1pPr algn="l">
              <a:defRPr sz="38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534415" y="547191"/>
            <a:ext cx="13628236" cy="11705974"/>
          </a:xfrm>
        </p:spPr>
        <p:txBody>
          <a:bodyPr/>
          <a:lstStyle>
            <a:lvl1pPr>
              <a:defRPr sz="5700"/>
            </a:lvl1pPr>
            <a:lvl2pPr>
              <a:defRPr sz="5000"/>
            </a:lvl2pPr>
            <a:lvl3pPr>
              <a:defRPr sz="43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220015" y="2871187"/>
            <a:ext cx="8021294" cy="9382054"/>
          </a:xfrm>
        </p:spPr>
        <p:txBody>
          <a:bodyPr/>
          <a:lstStyle>
            <a:lvl1pPr marL="0" indent="0">
              <a:buNone/>
              <a:defRPr sz="2400"/>
            </a:lvl1pPr>
            <a:lvl2pPr marL="773377" indent="0">
              <a:buNone/>
              <a:defRPr sz="2100"/>
            </a:lvl2pPr>
            <a:lvl3pPr marL="1546970" indent="0">
              <a:buNone/>
              <a:defRPr sz="1900"/>
            </a:lvl3pPr>
            <a:lvl4pPr marL="2320394" indent="0">
              <a:buNone/>
              <a:defRPr sz="1700"/>
            </a:lvl4pPr>
            <a:lvl5pPr marL="3093902" indent="0">
              <a:buNone/>
              <a:defRPr sz="1700"/>
            </a:lvl5pPr>
            <a:lvl6pPr marL="3867341" indent="0">
              <a:buNone/>
              <a:defRPr sz="1700"/>
            </a:lvl6pPr>
            <a:lvl7pPr marL="4640803" indent="0">
              <a:buNone/>
              <a:defRPr sz="1700"/>
            </a:lvl7pPr>
            <a:lvl8pPr marL="5414273" indent="0">
              <a:buNone/>
              <a:defRPr sz="1700"/>
            </a:lvl8pPr>
            <a:lvl9pPr marL="6187737" indent="0">
              <a:buNone/>
              <a:defRPr sz="17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56E02C-D1FE-4DC6-B30B-57C4F626547C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6834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78258" y="9600918"/>
            <a:ext cx="14630896" cy="1134600"/>
          </a:xfrm>
        </p:spPr>
        <p:txBody>
          <a:bodyPr anchor="b"/>
          <a:lstStyle>
            <a:lvl1pPr algn="l">
              <a:defRPr sz="38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4778258" y="1226765"/>
            <a:ext cx="14630896" cy="8227298"/>
          </a:xfrm>
        </p:spPr>
        <p:txBody>
          <a:bodyPr/>
          <a:lstStyle>
            <a:lvl1pPr marL="0" indent="0">
              <a:buNone/>
              <a:defRPr sz="5700"/>
            </a:lvl1pPr>
            <a:lvl2pPr marL="773377" indent="0">
              <a:buNone/>
              <a:defRPr sz="5000"/>
            </a:lvl2pPr>
            <a:lvl3pPr marL="1546970" indent="0">
              <a:buNone/>
              <a:defRPr sz="4300"/>
            </a:lvl3pPr>
            <a:lvl4pPr marL="2320394" indent="0">
              <a:buNone/>
              <a:defRPr sz="3800"/>
            </a:lvl4pPr>
            <a:lvl5pPr marL="3093902" indent="0">
              <a:buNone/>
              <a:defRPr sz="3800"/>
            </a:lvl5pPr>
            <a:lvl6pPr marL="3867341" indent="0">
              <a:buNone/>
              <a:defRPr sz="3800"/>
            </a:lvl6pPr>
            <a:lvl7pPr marL="4640803" indent="0">
              <a:buNone/>
              <a:defRPr sz="3800"/>
            </a:lvl7pPr>
            <a:lvl8pPr marL="5414273" indent="0">
              <a:buNone/>
              <a:defRPr sz="3800"/>
            </a:lvl8pPr>
            <a:lvl9pPr marL="6187737" indent="0">
              <a:buNone/>
              <a:defRPr sz="38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778258" y="10735522"/>
            <a:ext cx="14630896" cy="1609752"/>
          </a:xfrm>
        </p:spPr>
        <p:txBody>
          <a:bodyPr/>
          <a:lstStyle>
            <a:lvl1pPr marL="0" indent="0">
              <a:buNone/>
              <a:defRPr sz="2400"/>
            </a:lvl1pPr>
            <a:lvl2pPr marL="773377" indent="0">
              <a:buNone/>
              <a:defRPr sz="2100"/>
            </a:lvl2pPr>
            <a:lvl3pPr marL="1546970" indent="0">
              <a:buNone/>
              <a:defRPr sz="1900"/>
            </a:lvl3pPr>
            <a:lvl4pPr marL="2320394" indent="0">
              <a:buNone/>
              <a:defRPr sz="1700"/>
            </a:lvl4pPr>
            <a:lvl5pPr marL="3093902" indent="0">
              <a:buNone/>
              <a:defRPr sz="1700"/>
            </a:lvl5pPr>
            <a:lvl6pPr marL="3867341" indent="0">
              <a:buNone/>
              <a:defRPr sz="1700"/>
            </a:lvl6pPr>
            <a:lvl7pPr marL="4640803" indent="0">
              <a:buNone/>
              <a:defRPr sz="1700"/>
            </a:lvl7pPr>
            <a:lvl8pPr marL="5414273" indent="0">
              <a:buNone/>
              <a:defRPr sz="1700"/>
            </a:lvl8pPr>
            <a:lvl9pPr marL="6187737" indent="0">
              <a:buNone/>
              <a:defRPr sz="17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EFDCCA-A825-4E94-BD22-B8AE0297C324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2758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3760F-3C6D-4851-8C2E-802BC370A970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059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8044376" y="3372173"/>
            <a:ext cx="5483870" cy="864197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1582033" y="3372173"/>
            <a:ext cx="16114978" cy="864197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BCF43E-0E25-4259-9AF5-B44D78D82675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3847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/>
          </p:nvPr>
        </p:nvSpPr>
        <p:spPr>
          <a:xfrm>
            <a:off x="1581820" y="3372173"/>
            <a:ext cx="21946342" cy="864197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89D42-1B21-4394-BDA2-2E20AC0D0D1B}" type="slidenum">
              <a:rPr lang="nb-NO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8531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914" indent="0" algn="ctr">
              <a:buNone/>
              <a:defRPr sz="4000"/>
            </a:lvl2pPr>
            <a:lvl3pPr marL="1783774" indent="0" algn="ctr">
              <a:buNone/>
              <a:defRPr sz="3800"/>
            </a:lvl3pPr>
            <a:lvl4pPr marL="2675650" indent="0" algn="ctr">
              <a:buNone/>
              <a:defRPr sz="3100"/>
            </a:lvl4pPr>
            <a:lvl5pPr marL="3567543" indent="0" algn="ctr">
              <a:buNone/>
              <a:defRPr sz="3100"/>
            </a:lvl5pPr>
            <a:lvl6pPr marL="4459434" indent="0" algn="ctr">
              <a:buNone/>
              <a:defRPr sz="3100"/>
            </a:lvl6pPr>
            <a:lvl7pPr marL="5351341" indent="0" algn="ctr">
              <a:buNone/>
              <a:defRPr sz="3100"/>
            </a:lvl7pPr>
            <a:lvl8pPr marL="6243217" indent="0" algn="ctr">
              <a:buNone/>
              <a:defRPr sz="3100"/>
            </a:lvl8pPr>
            <a:lvl9pPr marL="713509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930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1914" indent="0" algn="ctr">
              <a:buNone/>
              <a:defRPr sz="4000"/>
            </a:lvl2pPr>
            <a:lvl3pPr marL="1783774" indent="0" algn="ctr">
              <a:buNone/>
              <a:defRPr sz="3800"/>
            </a:lvl3pPr>
            <a:lvl4pPr marL="2675650" indent="0" algn="ctr">
              <a:buNone/>
              <a:defRPr sz="3100"/>
            </a:lvl4pPr>
            <a:lvl5pPr marL="3567543" indent="0" algn="ctr">
              <a:buNone/>
              <a:defRPr sz="3100"/>
            </a:lvl5pPr>
            <a:lvl6pPr marL="4459434" indent="0" algn="ctr">
              <a:buNone/>
              <a:defRPr sz="3100"/>
            </a:lvl6pPr>
            <a:lvl7pPr marL="5351341" indent="0" algn="ctr">
              <a:buNone/>
              <a:defRPr sz="3100"/>
            </a:lvl7pPr>
            <a:lvl8pPr marL="6243217" indent="0" algn="ctr">
              <a:buNone/>
              <a:defRPr sz="3100"/>
            </a:lvl8pPr>
            <a:lvl9pPr marL="713509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9920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385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55769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1385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914" indent="0">
              <a:buNone/>
              <a:defRPr sz="4000" b="1"/>
            </a:lvl2pPr>
            <a:lvl3pPr marL="1783774" indent="0">
              <a:buNone/>
              <a:defRPr sz="3800" b="1"/>
            </a:lvl3pPr>
            <a:lvl4pPr marL="2675650" indent="0">
              <a:buNone/>
              <a:defRPr sz="3100" b="1"/>
            </a:lvl4pPr>
            <a:lvl5pPr marL="3567543" indent="0">
              <a:buNone/>
              <a:defRPr sz="3100" b="1"/>
            </a:lvl5pPr>
            <a:lvl6pPr marL="4459434" indent="0">
              <a:buNone/>
              <a:defRPr sz="3100" b="1"/>
            </a:lvl6pPr>
            <a:lvl7pPr marL="5351341" indent="0">
              <a:buNone/>
              <a:defRPr sz="3100" b="1"/>
            </a:lvl7pPr>
            <a:lvl8pPr marL="6243217" indent="0">
              <a:buNone/>
              <a:defRPr sz="3100" b="1"/>
            </a:lvl8pPr>
            <a:lvl9pPr marL="713509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914" indent="0">
              <a:buNone/>
              <a:defRPr sz="4000" b="1"/>
            </a:lvl2pPr>
            <a:lvl3pPr marL="1783774" indent="0">
              <a:buNone/>
              <a:defRPr sz="3800" b="1"/>
            </a:lvl3pPr>
            <a:lvl4pPr marL="2675650" indent="0">
              <a:buNone/>
              <a:defRPr sz="3100" b="1"/>
            </a:lvl4pPr>
            <a:lvl5pPr marL="3567543" indent="0">
              <a:buNone/>
              <a:defRPr sz="3100" b="1"/>
            </a:lvl5pPr>
            <a:lvl6pPr marL="4459434" indent="0">
              <a:buNone/>
              <a:defRPr sz="3100" b="1"/>
            </a:lvl6pPr>
            <a:lvl7pPr marL="5351341" indent="0">
              <a:buNone/>
              <a:defRPr sz="3100" b="1"/>
            </a:lvl7pPr>
            <a:lvl8pPr marL="6243217" indent="0">
              <a:buNone/>
              <a:defRPr sz="3100" b="1"/>
            </a:lvl8pPr>
            <a:lvl9pPr marL="713509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52" y="5106391"/>
            <a:ext cx="17138141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49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6683" indent="0" algn="ctr">
              <a:buNone/>
              <a:defRPr sz="4000"/>
            </a:lvl2pPr>
            <a:lvl3pPr marL="1793280" indent="0" algn="ctr">
              <a:buNone/>
              <a:defRPr sz="3800"/>
            </a:lvl3pPr>
            <a:lvl4pPr marL="2689887" indent="0" algn="ctr">
              <a:buNone/>
              <a:defRPr sz="3100"/>
            </a:lvl4pPr>
            <a:lvl5pPr marL="3586509" indent="0" algn="ctr">
              <a:buNone/>
              <a:defRPr sz="3100"/>
            </a:lvl5pPr>
            <a:lvl6pPr marL="4483139" indent="0" algn="ctr">
              <a:buNone/>
              <a:defRPr sz="3100"/>
            </a:lvl6pPr>
            <a:lvl7pPr marL="5379768" indent="0" algn="ctr">
              <a:buNone/>
              <a:defRPr sz="3100"/>
            </a:lvl7pPr>
            <a:lvl8pPr marL="6276386" indent="0" algn="ctr">
              <a:buNone/>
              <a:defRPr sz="3100"/>
            </a:lvl8pPr>
            <a:lvl9pPr marL="7173019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842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200306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705" y="5106391"/>
            <a:ext cx="17138141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47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6683" indent="0" algn="ctr">
              <a:buNone/>
              <a:defRPr sz="4000"/>
            </a:lvl2pPr>
            <a:lvl3pPr marL="1793280" indent="0" algn="ctr">
              <a:buNone/>
              <a:defRPr sz="3800"/>
            </a:lvl3pPr>
            <a:lvl4pPr marL="2689887" indent="0" algn="ctr">
              <a:buNone/>
              <a:defRPr sz="3100"/>
            </a:lvl4pPr>
            <a:lvl5pPr marL="3586509" indent="0" algn="ctr">
              <a:buNone/>
              <a:defRPr sz="3100"/>
            </a:lvl5pPr>
            <a:lvl6pPr marL="4483139" indent="0" algn="ctr">
              <a:buNone/>
              <a:defRPr sz="3100"/>
            </a:lvl6pPr>
            <a:lvl7pPr marL="5379768" indent="0" algn="ctr">
              <a:buNone/>
              <a:defRPr sz="3100"/>
            </a:lvl7pPr>
            <a:lvl8pPr marL="6276386" indent="0" algn="ctr">
              <a:buNone/>
              <a:defRPr sz="3100"/>
            </a:lvl8pPr>
            <a:lvl9pPr marL="7173019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4" y="1440180"/>
            <a:ext cx="3154285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265" y="1440000"/>
            <a:ext cx="3167999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65" y="144000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9090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13708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444" y="3816000"/>
            <a:ext cx="21566695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55993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33787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914" indent="0">
              <a:buNone/>
              <a:defRPr sz="4000" b="1"/>
            </a:lvl2pPr>
            <a:lvl3pPr marL="1783774" indent="0">
              <a:buNone/>
              <a:defRPr sz="3800" b="1"/>
            </a:lvl3pPr>
            <a:lvl4pPr marL="2675650" indent="0">
              <a:buNone/>
              <a:defRPr sz="3100" b="1"/>
            </a:lvl4pPr>
            <a:lvl5pPr marL="3567543" indent="0">
              <a:buNone/>
              <a:defRPr sz="3100" b="1"/>
            </a:lvl5pPr>
            <a:lvl6pPr marL="4459434" indent="0">
              <a:buNone/>
              <a:defRPr sz="3100" b="1"/>
            </a:lvl6pPr>
            <a:lvl7pPr marL="5351341" indent="0">
              <a:buNone/>
              <a:defRPr sz="3100" b="1"/>
            </a:lvl7pPr>
            <a:lvl8pPr marL="6243217" indent="0">
              <a:buNone/>
              <a:defRPr sz="3100" b="1"/>
            </a:lvl8pPr>
            <a:lvl9pPr marL="713509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767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1914" indent="0">
              <a:buNone/>
              <a:defRPr sz="4000" b="1"/>
            </a:lvl2pPr>
            <a:lvl3pPr marL="1783774" indent="0">
              <a:buNone/>
              <a:defRPr sz="3800" b="1"/>
            </a:lvl3pPr>
            <a:lvl4pPr marL="2675650" indent="0">
              <a:buNone/>
              <a:defRPr sz="3100" b="1"/>
            </a:lvl4pPr>
            <a:lvl5pPr marL="3567543" indent="0">
              <a:buNone/>
              <a:defRPr sz="3100" b="1"/>
            </a:lvl5pPr>
            <a:lvl6pPr marL="4459434" indent="0">
              <a:buNone/>
              <a:defRPr sz="3100" b="1"/>
            </a:lvl6pPr>
            <a:lvl7pPr marL="5351341" indent="0">
              <a:buNone/>
              <a:defRPr sz="3100" b="1"/>
            </a:lvl7pPr>
            <a:lvl8pPr marL="6243217" indent="0">
              <a:buNone/>
              <a:defRPr sz="3100" b="1"/>
            </a:lvl8pPr>
            <a:lvl9pPr marL="7135098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5" y="3636000"/>
            <a:ext cx="10549319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5" y="3636000"/>
            <a:ext cx="10549319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13555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11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764395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65087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44" y="2667015"/>
            <a:ext cx="2159955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747302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6" y="0"/>
            <a:ext cx="24385847" cy="12832004"/>
          </a:xfrm>
          <a:solidFill>
            <a:schemeClr val="bg2"/>
          </a:solidFill>
        </p:spPr>
        <p:txBody>
          <a:bodyPr tIns="423624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360126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6" y="3633671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6683" indent="0">
              <a:buNone/>
              <a:defRPr sz="4000" b="1"/>
            </a:lvl2pPr>
            <a:lvl3pPr marL="1793280" indent="0">
              <a:buNone/>
              <a:defRPr sz="3800" b="1"/>
            </a:lvl3pPr>
            <a:lvl4pPr marL="2689887" indent="0">
              <a:buNone/>
              <a:defRPr sz="3100" b="1"/>
            </a:lvl4pPr>
            <a:lvl5pPr marL="3586509" indent="0">
              <a:buNone/>
              <a:defRPr sz="3100" b="1"/>
            </a:lvl5pPr>
            <a:lvl6pPr marL="4483139" indent="0">
              <a:buNone/>
              <a:defRPr sz="3100" b="1"/>
            </a:lvl6pPr>
            <a:lvl7pPr marL="5379768" indent="0">
              <a:buNone/>
              <a:defRPr sz="3100" b="1"/>
            </a:lvl7pPr>
            <a:lvl8pPr marL="6276386" indent="0">
              <a:buNone/>
              <a:defRPr sz="3100" b="1"/>
            </a:lvl8pPr>
            <a:lvl9pPr marL="7173019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5" y="3633671"/>
            <a:ext cx="10549319" cy="1080138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896683" indent="0">
              <a:buNone/>
              <a:defRPr sz="4000" b="1"/>
            </a:lvl2pPr>
            <a:lvl3pPr marL="1793280" indent="0">
              <a:buNone/>
              <a:defRPr sz="3800" b="1"/>
            </a:lvl3pPr>
            <a:lvl4pPr marL="2689887" indent="0">
              <a:buNone/>
              <a:defRPr sz="3100" b="1"/>
            </a:lvl4pPr>
            <a:lvl5pPr marL="3586509" indent="0">
              <a:buNone/>
              <a:defRPr sz="3100" b="1"/>
            </a:lvl5pPr>
            <a:lvl6pPr marL="4483139" indent="0">
              <a:buNone/>
              <a:defRPr sz="3100" b="1"/>
            </a:lvl6pPr>
            <a:lvl7pPr marL="5379768" indent="0">
              <a:buNone/>
              <a:defRPr sz="3100" b="1"/>
            </a:lvl7pPr>
            <a:lvl8pPr marL="6276386" indent="0">
              <a:buNone/>
              <a:defRPr sz="3100" b="1"/>
            </a:lvl8pPr>
            <a:lvl9pPr marL="7173019" indent="0">
              <a:buNone/>
              <a:defRPr sz="31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6" y="4713734"/>
            <a:ext cx="10549319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5" y="4713734"/>
            <a:ext cx="10549319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281147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13604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540344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675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464" y="5106381"/>
            <a:ext cx="17138143" cy="828678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95" y="6649442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7609" indent="0" algn="ctr">
              <a:buNone/>
              <a:defRPr sz="4000"/>
            </a:lvl2pPr>
            <a:lvl3pPr marL="1795049" indent="0" algn="ctr">
              <a:buNone/>
              <a:defRPr sz="3800"/>
            </a:lvl3pPr>
            <a:lvl4pPr marL="2692544" indent="0" algn="ctr">
              <a:buNone/>
              <a:defRPr sz="3100"/>
            </a:lvl4pPr>
            <a:lvl5pPr marL="3590027" indent="0" algn="ctr">
              <a:buNone/>
              <a:defRPr sz="3100"/>
            </a:lvl5pPr>
            <a:lvl6pPr marL="4487563" indent="0" algn="ctr">
              <a:buNone/>
              <a:defRPr sz="3100"/>
            </a:lvl6pPr>
            <a:lvl7pPr marL="5385103" indent="0" algn="ctr">
              <a:buNone/>
              <a:defRPr sz="3100"/>
            </a:lvl7pPr>
            <a:lvl8pPr marL="6282634" indent="0" algn="ctr">
              <a:buNone/>
              <a:defRPr sz="3100"/>
            </a:lvl8pPr>
            <a:lvl9pPr marL="718008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0"/>
            <a:ext cx="3154288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593" y="1440182"/>
            <a:ext cx="3167999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675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675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675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8" y="1440019"/>
            <a:ext cx="3167999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438" y="1440000"/>
            <a:ext cx="3167999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770" y="2376000"/>
            <a:ext cx="2289600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224771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928" y="5106381"/>
            <a:ext cx="17138143" cy="828678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90" y="6649442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897609" indent="0" algn="ctr">
              <a:buNone/>
              <a:defRPr sz="4000"/>
            </a:lvl2pPr>
            <a:lvl3pPr marL="1795049" indent="0" algn="ctr">
              <a:buNone/>
              <a:defRPr sz="3800"/>
            </a:lvl3pPr>
            <a:lvl4pPr marL="2692544" indent="0" algn="ctr">
              <a:buNone/>
              <a:defRPr sz="3100"/>
            </a:lvl4pPr>
            <a:lvl5pPr marL="3590027" indent="0" algn="ctr">
              <a:buNone/>
              <a:defRPr sz="3100"/>
            </a:lvl5pPr>
            <a:lvl6pPr marL="4487563" indent="0" algn="ctr">
              <a:buNone/>
              <a:defRPr sz="3100"/>
            </a:lvl6pPr>
            <a:lvl7pPr marL="5385103" indent="0" algn="ctr">
              <a:buNone/>
              <a:defRPr sz="3100"/>
            </a:lvl7pPr>
            <a:lvl8pPr marL="6282634" indent="0" algn="ctr">
              <a:buNone/>
              <a:defRPr sz="3100"/>
            </a:lvl8pPr>
            <a:lvl9pPr marL="7180088" indent="0" algn="ctr">
              <a:buNone/>
              <a:defRPr sz="31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90" y="1440180"/>
            <a:ext cx="3154288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593" y="1440182"/>
            <a:ext cx="3167999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438" y="1440000"/>
            <a:ext cx="3167999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38" y="1440019"/>
            <a:ext cx="3167999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9251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84070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2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33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theme" Target="../theme/theme1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44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tags" Target="../tags/tag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56.xml"/><Relationship Id="rId21" Type="http://schemas.openxmlformats.org/officeDocument/2006/relationships/vmlDrawing" Target="../drawings/vmlDrawing5.v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image" Target="../media/image23.png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image" Target="../media/image22.emf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tags" Target="../tags/tag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7.xml"/><Relationship Id="rId13" Type="http://schemas.openxmlformats.org/officeDocument/2006/relationships/slideLayout" Target="../slideLayouts/slideLayout262.xml"/><Relationship Id="rId18" Type="http://schemas.openxmlformats.org/officeDocument/2006/relationships/slideLayout" Target="../slideLayouts/slideLayout267.xml"/><Relationship Id="rId3" Type="http://schemas.openxmlformats.org/officeDocument/2006/relationships/slideLayout" Target="../slideLayouts/slideLayout252.xml"/><Relationship Id="rId21" Type="http://schemas.openxmlformats.org/officeDocument/2006/relationships/vmlDrawing" Target="../drawings/vmlDrawing22.vml"/><Relationship Id="rId7" Type="http://schemas.openxmlformats.org/officeDocument/2006/relationships/slideLayout" Target="../slideLayouts/slideLayout256.xml"/><Relationship Id="rId12" Type="http://schemas.openxmlformats.org/officeDocument/2006/relationships/slideLayout" Target="../slideLayouts/slideLayout261.xml"/><Relationship Id="rId17" Type="http://schemas.openxmlformats.org/officeDocument/2006/relationships/slideLayout" Target="../slideLayouts/slideLayout266.xml"/><Relationship Id="rId25" Type="http://schemas.openxmlformats.org/officeDocument/2006/relationships/image" Target="../media/image23.png"/><Relationship Id="rId2" Type="http://schemas.openxmlformats.org/officeDocument/2006/relationships/slideLayout" Target="../slideLayouts/slideLayout251.xml"/><Relationship Id="rId16" Type="http://schemas.openxmlformats.org/officeDocument/2006/relationships/slideLayout" Target="../slideLayouts/slideLayout265.xml"/><Relationship Id="rId20" Type="http://schemas.openxmlformats.org/officeDocument/2006/relationships/theme" Target="../theme/theme22.xml"/><Relationship Id="rId1" Type="http://schemas.openxmlformats.org/officeDocument/2006/relationships/slideLayout" Target="../slideLayouts/slideLayout250.xml"/><Relationship Id="rId6" Type="http://schemas.openxmlformats.org/officeDocument/2006/relationships/slideLayout" Target="../slideLayouts/slideLayout255.xml"/><Relationship Id="rId11" Type="http://schemas.openxmlformats.org/officeDocument/2006/relationships/slideLayout" Target="../slideLayouts/slideLayout260.xml"/><Relationship Id="rId24" Type="http://schemas.openxmlformats.org/officeDocument/2006/relationships/image" Target="../media/image22.emf"/><Relationship Id="rId5" Type="http://schemas.openxmlformats.org/officeDocument/2006/relationships/slideLayout" Target="../slideLayouts/slideLayout254.xml"/><Relationship Id="rId15" Type="http://schemas.openxmlformats.org/officeDocument/2006/relationships/slideLayout" Target="../slideLayouts/slideLayout264.xml"/><Relationship Id="rId23" Type="http://schemas.openxmlformats.org/officeDocument/2006/relationships/oleObject" Target="../embeddings/oleObject22.bin"/><Relationship Id="rId10" Type="http://schemas.openxmlformats.org/officeDocument/2006/relationships/slideLayout" Target="../slideLayouts/slideLayout259.xml"/><Relationship Id="rId19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53.xml"/><Relationship Id="rId9" Type="http://schemas.openxmlformats.org/officeDocument/2006/relationships/slideLayout" Target="../slideLayouts/slideLayout258.xml"/><Relationship Id="rId14" Type="http://schemas.openxmlformats.org/officeDocument/2006/relationships/slideLayout" Target="../slideLayouts/slideLayout263.xml"/><Relationship Id="rId22" Type="http://schemas.openxmlformats.org/officeDocument/2006/relationships/tags" Target="../tags/tag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3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17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60" r:id="rId4"/>
    <p:sldLayoutId id="2147483652" r:id="rId5"/>
    <p:sldLayoutId id="2147483657" r:id="rId6"/>
    <p:sldLayoutId id="2147483659" r:id="rId7"/>
    <p:sldLayoutId id="2147483658" r:id="rId8"/>
    <p:sldLayoutId id="2147483653" r:id="rId9"/>
    <p:sldLayoutId id="2147483654" r:id="rId10"/>
    <p:sldLayoutId id="2147483655" r:id="rId11"/>
    <p:sldLayoutId id="2147483698" r:id="rId12"/>
  </p:sldLayoutIdLst>
  <p:hf hdr="0" ftr="0" dt="0"/>
  <p:txStyles>
    <p:titleStyle>
      <a:lvl1pPr algn="l" defTabSz="1783774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716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185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474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0900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275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5384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7272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89165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1048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191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377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5650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7543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5943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1341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3217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5098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90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90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8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4352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8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4352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8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4352"/>
            <a:r>
              <a:rPr lang="nb-NO"/>
              <a:t> Side </a:t>
            </a:r>
            <a:fld id="{5751DFAA-887F-4071-8EAD-E8CA316FCF06}" type="slidenum">
              <a:rPr lang="nb-NO" smtClean="0"/>
              <a:pPr defTabSz="1784352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92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378" r:id="rId12"/>
  </p:sldLayoutIdLst>
  <p:hf hdr="0" ftr="0" dt="0"/>
  <p:txStyles>
    <p:titleStyle>
      <a:lvl1pPr algn="l" defTabSz="1784352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878" indent="-526878" algn="l" defTabSz="178435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485" indent="-526878" algn="l" defTabSz="178435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905" indent="-526878" algn="l" defTabSz="178435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1473" indent="-526878" algn="l" defTabSz="178435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982" indent="-526878" algn="l" defTabSz="178435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6955" indent="-446129" algn="l" defTabSz="17843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9126" indent="-446129" algn="l" defTabSz="17843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1303" indent="-446129" algn="l" defTabSz="17843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3477" indent="-446129" algn="l" defTabSz="17843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202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4352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6503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8688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0864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3055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5217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7381" algn="l" defTabSz="178435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90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90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8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80591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8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80591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8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805915"/>
            <a:r>
              <a:rPr lang="nb-NO"/>
              <a:t> Side </a:t>
            </a:r>
            <a:fld id="{5751DFAA-887F-4071-8EAD-E8CA316FCF06}" type="slidenum">
              <a:rPr lang="nb-NO" smtClean="0"/>
              <a:pPr defTabSz="180591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09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  <p:sldLayoutId id="2147484414" r:id="rId4"/>
    <p:sldLayoutId id="2147484415" r:id="rId5"/>
    <p:sldLayoutId id="2147484416" r:id="rId6"/>
    <p:sldLayoutId id="2147484417" r:id="rId7"/>
    <p:sldLayoutId id="2147484418" r:id="rId8"/>
    <p:sldLayoutId id="2147484419" r:id="rId9"/>
    <p:sldLayoutId id="2147484420" r:id="rId10"/>
    <p:sldLayoutId id="2147484421" r:id="rId11"/>
  </p:sldLayoutIdLst>
  <p:hf hdr="0" ftr="0" dt="0"/>
  <p:txStyles>
    <p:titleStyle>
      <a:lvl1pPr algn="l" defTabSz="180591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3259" indent="-533259" algn="l" defTabSz="180591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59884" indent="-533259" algn="l" defTabSz="180591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86447" indent="-533259" algn="l" defTabSz="180591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13089" indent="-533259" algn="l" defTabSz="180591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39707" indent="-533259" algn="l" defTabSz="180591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66189" indent="-451526" algn="l" defTabSz="180591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69131" indent="-451526" algn="l" defTabSz="180591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772086" indent="-451526" algn="l" defTabSz="180591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75035" indent="-451526" algn="l" defTabSz="180591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03002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5915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08822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11774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14728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17672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20607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223557" algn="l" defTabSz="180591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90646982"/>
              </p:ext>
            </p:extLst>
          </p:nvPr>
        </p:nvGraphicFramePr>
        <p:xfrm>
          <a:off x="2699" y="2647"/>
          <a:ext cx="2645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699" y="2647"/>
                        <a:ext cx="2645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90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90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8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821488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8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821488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8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821488"/>
            <a:r>
              <a:rPr lang="nb-NO"/>
              <a:t> Side </a:t>
            </a:r>
            <a:fld id="{5751DFAA-887F-4071-8EAD-E8CA316FCF06}" type="slidenum">
              <a:rPr lang="nb-NO" smtClean="0"/>
              <a:pPr defTabSz="1821488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79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</p:sldLayoutIdLst>
  <p:hf hdr="0" ftr="0" dt="0"/>
  <p:txStyles>
    <p:titleStyle>
      <a:lvl1pPr algn="l" defTabSz="1821488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7839" indent="-537839" algn="l" defTabSz="1821488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68174" indent="-537839" algn="l" defTabSz="1821488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98460" indent="-537839" algn="l" defTabSz="1821488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28750" indent="-537839" algn="l" defTabSz="1821488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59046" indent="-537839" algn="l" defTabSz="1821488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5009087" indent="-455397" algn="l" defTabSz="18214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19828" indent="-455397" algn="l" defTabSz="18214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30575" indent="-455397" algn="l" defTabSz="18214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41331" indent="-455397" algn="l" defTabSz="18214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0737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1488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2218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42979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53728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64465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75204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285948" algn="l" defTabSz="1821488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43677918"/>
              </p:ext>
            </p:extLst>
          </p:nvPr>
        </p:nvGraphicFramePr>
        <p:xfrm>
          <a:off x="2691" y="2647"/>
          <a:ext cx="2645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1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691" y="2647"/>
                        <a:ext cx="2645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90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90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8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822217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8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822217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8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822217"/>
            <a:r>
              <a:rPr lang="nb-NO"/>
              <a:t> Side </a:t>
            </a:r>
            <a:fld id="{5751DFAA-887F-4071-8EAD-E8CA316FCF06}" type="slidenum">
              <a:rPr lang="nb-NO" smtClean="0"/>
              <a:pPr defTabSz="1822217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15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  <p:sldLayoutId id="2147484536" r:id="rId11"/>
  </p:sldLayoutIdLst>
  <p:hf hdr="0" ftr="0" dt="0"/>
  <p:txStyles>
    <p:titleStyle>
      <a:lvl1pPr algn="l" defTabSz="1822217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8054" indent="-538054" algn="l" defTabSz="1822217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68559" indent="-538054" algn="l" defTabSz="1822217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99020" indent="-538054" algn="l" defTabSz="1822217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29483" indent="-538054" algn="l" defTabSz="1822217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59946" indent="-538054" algn="l" defTabSz="1822217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5011094" indent="-455576" algn="l" defTabSz="1822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22200" indent="-455576" algn="l" defTabSz="1822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33308" indent="-455576" algn="l" defTabSz="1822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44431" indent="-455576" algn="l" defTabSz="1822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1099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2217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3313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44438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55551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66650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77758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288867" algn="l" defTabSz="1822217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08826867"/>
              </p:ext>
            </p:extLst>
          </p:nvPr>
        </p:nvGraphicFramePr>
        <p:xfrm>
          <a:off x="3198" y="3185"/>
          <a:ext cx="3176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3198" y="3185"/>
                        <a:ext cx="3176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8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8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579777" y="13115809"/>
            <a:ext cx="10760065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826143">
              <a:spcAft>
                <a:spcPts val="2000"/>
              </a:spcAft>
            </a:pPr>
            <a:r>
              <a:rPr lang="en-GB" sz="2100" dirty="0">
                <a:solidFill>
                  <a:prstClr val="white">
                    <a:lumMod val="50000"/>
                  </a:prstClr>
                </a:solidFill>
              </a:rPr>
              <a:t>e-health seminar for Polish healthcare delegation – 30</a:t>
            </a:r>
            <a:r>
              <a:rPr lang="en-GB" sz="2100" baseline="30000" dirty="0">
                <a:solidFill>
                  <a:prstClr val="white">
                    <a:lumMod val="50000"/>
                  </a:prstClr>
                </a:solidFill>
              </a:rPr>
              <a:t>th</a:t>
            </a:r>
            <a:r>
              <a:rPr lang="en-GB" sz="2100" dirty="0">
                <a:solidFill>
                  <a:prstClr val="white">
                    <a:lumMod val="50000"/>
                  </a:prstClr>
                </a:solidFill>
              </a:rPr>
              <a:t> June 2016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2676679" y="13115809"/>
            <a:ext cx="314189" cy="323165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6143">
              <a:spcAft>
                <a:spcPts val="2000"/>
              </a:spcAft>
            </a:pPr>
            <a:fld id="{278133DE-9F15-4777-B71A-DD5F2A148F48}" type="slidenum">
              <a:rPr lang="en-GB" sz="2100" smtClean="0">
                <a:solidFill>
                  <a:prstClr val="white">
                    <a:lumMod val="50000"/>
                  </a:prstClr>
                </a:solidFill>
              </a:rPr>
              <a:pPr defTabSz="1826143">
                <a:spcAft>
                  <a:spcPts val="2000"/>
                </a:spcAft>
              </a:pPr>
              <a:t>‹#›</a:t>
            </a:fld>
            <a:endParaRPr lang="en-GB" sz="21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106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0" r:id="rId1"/>
    <p:sldLayoutId id="2147484721" r:id="rId2"/>
    <p:sldLayoutId id="2147484722" r:id="rId3"/>
    <p:sldLayoutId id="2147484723" r:id="rId4"/>
    <p:sldLayoutId id="2147484724" r:id="rId5"/>
    <p:sldLayoutId id="2147484725" r:id="rId6"/>
    <p:sldLayoutId id="2147484726" r:id="rId7"/>
    <p:sldLayoutId id="2147484727" r:id="rId8"/>
    <p:sldLayoutId id="2147484728" r:id="rId9"/>
    <p:sldLayoutId id="2147484729" r:id="rId10"/>
    <p:sldLayoutId id="2147484730" r:id="rId11"/>
    <p:sldLayoutId id="2147484731" r:id="rId12"/>
    <p:sldLayoutId id="2147484732" r:id="rId13"/>
    <p:sldLayoutId id="2147484733" r:id="rId14"/>
    <p:sldLayoutId id="2147484734" r:id="rId15"/>
    <p:sldLayoutId id="2147484735" r:id="rId16"/>
    <p:sldLayoutId id="2147484736" r:id="rId17"/>
    <p:sldLayoutId id="2147484737" r:id="rId18"/>
    <p:sldLayoutId id="2147484738" r:id="rId19"/>
  </p:sldLayoutIdLst>
  <p:hf sldNum="0" hdr="0" ftr="0" dt="0"/>
  <p:txStyles>
    <p:titleStyle>
      <a:lvl1pPr algn="l" defTabSz="1826143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230" indent="-539230" algn="l" defTabSz="1826143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0638" indent="-539230" algn="l" defTabSz="1826143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2029" indent="-539230" algn="l" defTabSz="1826143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3426" indent="-539230" algn="l" defTabSz="1826143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4812" indent="-539230" algn="l" defTabSz="1826143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1883" indent="-456542" algn="l" defTabSz="18261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34946" indent="-456542" algn="l" defTabSz="18261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48026" indent="-456542" algn="l" defTabSz="18261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1094" indent="-456542" algn="l" defTabSz="18261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068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6143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9201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2285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5348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78418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1484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04559" algn="l" defTabSz="182614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17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17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662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662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6629"/>
            <a:r>
              <a:rPr lang="nb-NO"/>
              <a:t> Side </a:t>
            </a:r>
            <a:fld id="{5751DFAA-887F-4071-8EAD-E8CA316FCF06}" type="slidenum">
              <a:rPr lang="nb-NO" smtClean="0"/>
              <a:pPr defTabSz="178662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67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6" r:id="rId1"/>
    <p:sldLayoutId id="2147484767" r:id="rId2"/>
    <p:sldLayoutId id="2147484768" r:id="rId3"/>
    <p:sldLayoutId id="2147484769" r:id="rId4"/>
    <p:sldLayoutId id="2147484770" r:id="rId5"/>
    <p:sldLayoutId id="2147484771" r:id="rId6"/>
    <p:sldLayoutId id="2147484772" r:id="rId7"/>
    <p:sldLayoutId id="2147484773" r:id="rId8"/>
    <p:sldLayoutId id="2147484774" r:id="rId9"/>
    <p:sldLayoutId id="2147484775" r:id="rId10"/>
    <p:sldLayoutId id="2147484776" r:id="rId11"/>
  </p:sldLayoutIdLst>
  <p:hf hdr="0" ftr="0" dt="0"/>
  <p:txStyles>
    <p:titleStyle>
      <a:lvl1pPr algn="l" defTabSz="178662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7554" indent="-527554" algn="l" defTabSz="178662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9708" indent="-527554" algn="l" defTabSz="178662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71665" indent="-527554" algn="l" defTabSz="178662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3780" indent="-527554" algn="l" defTabSz="178662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5822" indent="-527554" algn="l" defTabSz="178662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13236" indent="-446705" algn="l" defTabSz="178662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06550" indent="-446705" algn="l" defTabSz="178662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9881" indent="-446705" algn="l" defTabSz="178662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93195" indent="-446705" algn="l" defTabSz="178662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3355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6629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9940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73257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6576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9900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53216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46533" algn="l" defTabSz="17866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90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90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8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826414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8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826414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8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826414"/>
            <a:r>
              <a:rPr lang="nb-NO"/>
              <a:t> Side </a:t>
            </a:r>
            <a:fld id="{5751DFAA-887F-4071-8EAD-E8CA316FCF06}" type="slidenum">
              <a:rPr lang="nb-NO" smtClean="0"/>
              <a:pPr defTabSz="1826414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6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941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8" r:id="rId1"/>
    <p:sldLayoutId id="2147484779" r:id="rId2"/>
    <p:sldLayoutId id="2147484780" r:id="rId3"/>
    <p:sldLayoutId id="2147484781" r:id="rId4"/>
    <p:sldLayoutId id="2147484782" r:id="rId5"/>
    <p:sldLayoutId id="2147484783" r:id="rId6"/>
    <p:sldLayoutId id="2147484784" r:id="rId7"/>
    <p:sldLayoutId id="2147484785" r:id="rId8"/>
    <p:sldLayoutId id="2147484786" r:id="rId9"/>
    <p:sldLayoutId id="2147484787" r:id="rId10"/>
    <p:sldLayoutId id="2147484788" r:id="rId11"/>
  </p:sldLayoutIdLst>
  <p:hf hdr="0" ftr="0" dt="0"/>
  <p:txStyles>
    <p:titleStyle>
      <a:lvl1pPr algn="l" defTabSz="1826414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315" indent="-539315" algn="l" defTabSz="182641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0783" indent="-539315" algn="l" defTabSz="182641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2239" indent="-539315" algn="l" defTabSz="182641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3699" indent="-539315" algn="l" defTabSz="182641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5153" indent="-539315" algn="l" defTabSz="182641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2636" indent="-456611" algn="l" defTabSz="182641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35834" indent="-456611" algn="l" defTabSz="182641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49054" indent="-456611" algn="l" defTabSz="182641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2253" indent="-456611" algn="l" defTabSz="182641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203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6414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9613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2833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6032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79242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2443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05651" algn="l" defTabSz="182641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212073" y="1098143"/>
            <a:ext cx="22159955" cy="144018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4" y="3258410"/>
            <a:ext cx="22159958" cy="86410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746456" y="12721601"/>
            <a:ext cx="1692333" cy="36933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700" b="1">
                <a:solidFill>
                  <a:schemeClr val="tx2"/>
                </a:solidFill>
              </a:defRPr>
            </a:lvl1pPr>
          </a:lstStyle>
          <a:p>
            <a:pPr defTabSz="1828150"/>
            <a:fld id="{22FCF156-2266-4DDD-A756-6601C920D2AC}" type="datetime1">
              <a:rPr lang="nb-NO" smtClean="0">
                <a:solidFill>
                  <a:srgbClr val="2C4457"/>
                </a:solidFill>
              </a:rPr>
              <a:pPr defTabSz="1828150"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0680644" y="12721601"/>
            <a:ext cx="9600575" cy="36933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700" b="1">
                <a:solidFill>
                  <a:schemeClr val="tx2"/>
                </a:solidFill>
              </a:defRPr>
            </a:lvl1pPr>
          </a:lstStyle>
          <a:p>
            <a:pPr defTabSz="1828150"/>
            <a:endParaRPr lang="nb-NO" dirty="0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754450" y="12721601"/>
            <a:ext cx="617581" cy="36933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700" b="1">
                <a:solidFill>
                  <a:schemeClr val="tx2"/>
                </a:solidFill>
              </a:defRPr>
            </a:lvl1pPr>
          </a:lstStyle>
          <a:p>
            <a:pPr defTabSz="1828150"/>
            <a:fld id="{5751DFAA-887F-4071-8EAD-E8CA316FCF06}" type="slidenum">
              <a:rPr lang="nb-NO" smtClean="0">
                <a:solidFill>
                  <a:srgbClr val="2C4457"/>
                </a:solidFill>
              </a:rPr>
              <a:pPr defTabSz="1828150"/>
              <a:t>‹#›</a:t>
            </a:fld>
            <a:endParaRPr lang="nb-NO" dirty="0">
              <a:solidFill>
                <a:srgbClr val="2C4457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03677"/>
            <a:ext cx="6504601" cy="121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70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2" r:id="rId1"/>
    <p:sldLayoutId id="2147484803" r:id="rId2"/>
    <p:sldLayoutId id="2147484804" r:id="rId3"/>
    <p:sldLayoutId id="2147484805" r:id="rId4"/>
    <p:sldLayoutId id="2147484806" r:id="rId5"/>
    <p:sldLayoutId id="2147484807" r:id="rId6"/>
    <p:sldLayoutId id="2147484808" r:id="rId7"/>
    <p:sldLayoutId id="2147484809" r:id="rId8"/>
    <p:sldLayoutId id="2147484810" r:id="rId9"/>
    <p:sldLayoutId id="2147484811" r:id="rId10"/>
    <p:sldLayoutId id="2147484812" r:id="rId11"/>
  </p:sldLayoutIdLst>
  <p:hf hdr="0" ftr="0" dt="0"/>
  <p:txStyles>
    <p:titleStyle>
      <a:lvl1pPr algn="l" defTabSz="182815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870" indent="-359870" algn="l" defTabSz="1828150" rtl="0" eaLnBrk="1" latinLnBrk="0" hangingPunct="1">
        <a:lnSpc>
          <a:spcPct val="90000"/>
        </a:lnSpc>
        <a:spcBef>
          <a:spcPts val="20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719744" indent="-359870" algn="l" defTabSz="1828150" rtl="0" eaLnBrk="1" latinLnBrk="0" hangingPunct="1">
        <a:lnSpc>
          <a:spcPct val="90000"/>
        </a:lnSpc>
        <a:spcBef>
          <a:spcPts val="2000"/>
        </a:spcBef>
        <a:spcAft>
          <a:spcPts val="0"/>
        </a:spcAft>
        <a:buClrTx/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2pPr>
      <a:lvl3pPr marL="1079617" indent="-359870" algn="l" defTabSz="1828150" rtl="0" eaLnBrk="1" latinLnBrk="0" hangingPunct="1">
        <a:lnSpc>
          <a:spcPct val="90000"/>
        </a:lnSpc>
        <a:spcBef>
          <a:spcPts val="667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3pPr>
      <a:lvl4pPr marL="1439486" indent="-359870" algn="l" defTabSz="1828150" rtl="0" eaLnBrk="1" latinLnBrk="0" hangingPunct="1">
        <a:lnSpc>
          <a:spcPct val="90000"/>
        </a:lnSpc>
        <a:spcBef>
          <a:spcPts val="667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4pPr>
      <a:lvl5pPr marL="1799361" indent="-359870" algn="l" defTabSz="1828150" rtl="0" eaLnBrk="1" latinLnBrk="0" hangingPunct="1">
        <a:lnSpc>
          <a:spcPct val="90000"/>
        </a:lnSpc>
        <a:spcBef>
          <a:spcPts val="667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5pPr>
      <a:lvl6pPr marL="5027412" indent="-457040" algn="l" defTabSz="182815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484" indent="-457040" algn="l" defTabSz="182815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5561" indent="-457040" algn="l" defTabSz="182815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9634" indent="-457040" algn="l" defTabSz="182815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072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150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222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299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372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449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521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12594" algn="l" defTabSz="182815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396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396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864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864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9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8645"/>
            <a:r>
              <a:rPr lang="nb-NO"/>
              <a:t> Side </a:t>
            </a:r>
            <a:fld id="{5751DFAA-887F-4071-8EAD-E8CA316FCF06}" type="slidenum">
              <a:rPr lang="nb-NO" smtClean="0"/>
              <a:pPr defTabSz="178864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4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884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  <p:sldLayoutId id="2147484868" r:id="rId2"/>
    <p:sldLayoutId id="2147484869" r:id="rId3"/>
    <p:sldLayoutId id="2147484870" r:id="rId4"/>
    <p:sldLayoutId id="2147484871" r:id="rId5"/>
    <p:sldLayoutId id="2147484872" r:id="rId6"/>
    <p:sldLayoutId id="2147484873" r:id="rId7"/>
    <p:sldLayoutId id="2147484874" r:id="rId8"/>
    <p:sldLayoutId id="2147484875" r:id="rId9"/>
    <p:sldLayoutId id="2147484876" r:id="rId10"/>
    <p:sldLayoutId id="2147484877" r:id="rId11"/>
  </p:sldLayoutIdLst>
  <p:hf hdr="0" ftr="0" dt="0"/>
  <p:txStyles>
    <p:titleStyle>
      <a:lvl1pPr algn="l" defTabSz="178864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8147" indent="-528147" algn="l" defTabSz="178864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50782" indent="-528147" algn="l" defTabSz="178864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73214" indent="-528147" algn="l" defTabSz="178864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5809" indent="-528147" algn="l" defTabSz="178864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8322" indent="-528147" algn="l" defTabSz="178864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18780" indent="-447212" algn="l" defTabSz="17886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13102" indent="-447212" algn="l" defTabSz="17886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707437" indent="-447212" algn="l" defTabSz="17886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01763" indent="-447212" algn="l" defTabSz="17886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4369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8645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82964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77290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71616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65952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60268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54597" algn="l" defTabSz="178864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2" y="703096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2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4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828476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828476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34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828476"/>
            <a:r>
              <a:rPr lang="nb-NO"/>
              <a:t> Side </a:t>
            </a:r>
            <a:fld id="{5751DFAA-887F-4071-8EAD-E8CA316FCF06}" type="slidenum">
              <a:rPr lang="nb-NO" smtClean="0"/>
              <a:pPr defTabSz="1828476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9" y="13094836"/>
            <a:ext cx="4054051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679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80" r:id="rId2"/>
    <p:sldLayoutId id="2147484881" r:id="rId3"/>
    <p:sldLayoutId id="2147484882" r:id="rId4"/>
    <p:sldLayoutId id="2147484883" r:id="rId5"/>
    <p:sldLayoutId id="2147484884" r:id="rId6"/>
    <p:sldLayoutId id="2147484885" r:id="rId7"/>
    <p:sldLayoutId id="2147484886" r:id="rId8"/>
    <p:sldLayoutId id="2147484887" r:id="rId9"/>
    <p:sldLayoutId id="2147484888" r:id="rId10"/>
    <p:sldLayoutId id="2147484889" r:id="rId11"/>
  </p:sldLayoutIdLst>
  <p:hf hdr="0" ftr="0" dt="0"/>
  <p:txStyles>
    <p:titleStyle>
      <a:lvl1pPr algn="l" defTabSz="1828476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30" indent="-539930" algn="l" defTabSz="1828476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76" indent="-539930" algn="l" defTabSz="1828476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820" indent="-539930" algn="l" defTabSz="1828476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763" indent="-539930" algn="l" defTabSz="1828476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710" indent="-539930" algn="l" defTabSz="1828476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307" indent="-457118" algn="l" defTabSz="182847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541" indent="-457118" algn="l" defTabSz="182847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780" indent="-457118" algn="l" defTabSz="182847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017" indent="-457118" algn="l" defTabSz="182847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37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76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710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949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186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425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662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896" algn="l" defTabSz="1828476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5210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5210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5210"/>
            <a:r>
              <a:rPr lang="nb-NO"/>
              <a:t> Side </a:t>
            </a:r>
            <a:fld id="{5751DFAA-887F-4071-8EAD-E8CA316FCF06}" type="slidenum">
              <a:rPr lang="nb-NO" smtClean="0"/>
              <a:pPr defTabSz="1785210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44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hf hdr="0" ftr="0" dt="0"/>
  <p:txStyles>
    <p:titleStyle>
      <a:lvl1pPr algn="l" defTabSz="1785210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7128" indent="-527128" algn="l" defTabSz="178521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946" indent="-527128" algn="l" defTabSz="178521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70562" indent="-527128" algn="l" defTabSz="178521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2340" indent="-527128" algn="l" defTabSz="178521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4051" indent="-527128" algn="l" defTabSz="178521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9310" indent="-446345" algn="l" defTabSz="17852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01914" indent="-446345" algn="l" defTabSz="17852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4524" indent="-446345" algn="l" defTabSz="17852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7117" indent="-446345" algn="l" defTabSz="17852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636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5210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7793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70402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3010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5619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8217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40814" algn="l" defTabSz="178521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52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52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3431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3431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3431"/>
            <a:r>
              <a:rPr lang="nb-NO"/>
              <a:t> Side </a:t>
            </a:r>
            <a:fld id="{5751DFAA-887F-4071-8EAD-E8CA316FCF06}" type="slidenum">
              <a:rPr lang="nb-NO" smtClean="0"/>
              <a:pPr defTabSz="1783431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37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53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1" r:id="rId1"/>
    <p:sldLayoutId id="2147484892" r:id="rId2"/>
    <p:sldLayoutId id="2147484893" r:id="rId3"/>
    <p:sldLayoutId id="2147484894" r:id="rId4"/>
    <p:sldLayoutId id="2147484895" r:id="rId5"/>
    <p:sldLayoutId id="2147484896" r:id="rId6"/>
    <p:sldLayoutId id="2147484897" r:id="rId7"/>
    <p:sldLayoutId id="2147484898" r:id="rId8"/>
    <p:sldLayoutId id="2147484899" r:id="rId9"/>
    <p:sldLayoutId id="2147484900" r:id="rId10"/>
    <p:sldLayoutId id="2147484901" r:id="rId11"/>
  </p:sldLayoutIdLst>
  <p:hf hdr="0" ftr="0" dt="0"/>
  <p:txStyles>
    <p:titleStyle>
      <a:lvl1pPr algn="l" defTabSz="1783431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616" indent="-526616" algn="l" defTabSz="17834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006" indent="-526616" algn="l" defTabSz="17834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210" indent="-526616" algn="l" defTabSz="17834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0557" indent="-526616" algn="l" defTabSz="17834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1851" indent="-526616" algn="l" defTabSz="17834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4441" indent="-445900" algn="l" defTabSz="17834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6158" indent="-445900" algn="l" defTabSz="17834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87879" indent="-445900" algn="l" defTabSz="17834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79591" indent="-445900" algn="l" defTabSz="17834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1743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3431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5136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6857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58577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0312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2017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3727" algn="l" defTabSz="17834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38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38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4002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4002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9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4002"/>
            <a:r>
              <a:rPr lang="nb-NO"/>
              <a:t> Side </a:t>
            </a:r>
            <a:fld id="{5751DFAA-887F-4071-8EAD-E8CA316FCF06}" type="slidenum">
              <a:rPr lang="nb-NO" smtClean="0"/>
              <a:pPr defTabSz="1784002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4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0" r:id="rId1"/>
    <p:sldLayoutId id="2147485041" r:id="rId2"/>
    <p:sldLayoutId id="2147485042" r:id="rId3"/>
    <p:sldLayoutId id="2147485043" r:id="rId4"/>
    <p:sldLayoutId id="2147485044" r:id="rId5"/>
    <p:sldLayoutId id="2147485045" r:id="rId6"/>
    <p:sldLayoutId id="2147485046" r:id="rId7"/>
    <p:sldLayoutId id="2147485047" r:id="rId8"/>
    <p:sldLayoutId id="2147485048" r:id="rId9"/>
    <p:sldLayoutId id="2147485049" r:id="rId10"/>
    <p:sldLayoutId id="2147485050" r:id="rId11"/>
  </p:sldLayoutIdLst>
  <p:hf hdr="0" ftr="0" dt="0"/>
  <p:txStyles>
    <p:titleStyle>
      <a:lvl1pPr algn="l" defTabSz="1784002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783" indent="-526783" algn="l" defTabSz="178400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308" indent="-526783" algn="l" defTabSz="178400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650" indent="-526783" algn="l" defTabSz="178400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1128" indent="-526783" algn="l" defTabSz="178400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558" indent="-526783" algn="l" defTabSz="178400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6012" indent="-446043" algn="l" defTabSz="178400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8015" indent="-446043" algn="l" defTabSz="178400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0022" indent="-446043" algn="l" defTabSz="178400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2019" indent="-446043" algn="l" defTabSz="178400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029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4002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5993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8000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0005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2026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4017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6012" algn="l" defTabSz="178400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2361542"/>
              </p:ext>
            </p:extLst>
          </p:nvPr>
        </p:nvGraphicFramePr>
        <p:xfrm>
          <a:off x="3177" y="3177"/>
          <a:ext cx="3175" cy="31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5" cy="31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7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ittelstil</a:t>
            </a:r>
            <a:endParaRPr lang="en-GB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stiler</a:t>
            </a:r>
            <a:r>
              <a:rPr lang="en-GB" dirty="0"/>
              <a:t> i </a:t>
            </a:r>
            <a:r>
              <a:rPr lang="en-GB" dirty="0" err="1"/>
              <a:t>malen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7" y="13094837"/>
            <a:ext cx="4054053" cy="3024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579751" y="13115801"/>
            <a:ext cx="10760065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defTabSz="1828435">
              <a:spcAft>
                <a:spcPts val="2000"/>
              </a:spcAft>
            </a:pPr>
            <a:r>
              <a:rPr lang="en-GB" sz="2200" dirty="0">
                <a:solidFill>
                  <a:prstClr val="white">
                    <a:lumMod val="50000"/>
                  </a:prstClr>
                </a:solidFill>
              </a:rPr>
              <a:t>e-health seminar for Polish healthcare delegation – 30</a:t>
            </a:r>
            <a:r>
              <a:rPr lang="en-GB" sz="2200" baseline="30000" dirty="0">
                <a:solidFill>
                  <a:prstClr val="white">
                    <a:lumMod val="50000"/>
                  </a:prstClr>
                </a:solidFill>
              </a:rPr>
              <a:t>th</a:t>
            </a:r>
            <a:r>
              <a:rPr lang="en-GB" sz="2200" dirty="0">
                <a:solidFill>
                  <a:prstClr val="white">
                    <a:lumMod val="50000"/>
                  </a:prstClr>
                </a:solidFill>
              </a:rPr>
              <a:t> June 2016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22676676" y="13115801"/>
            <a:ext cx="330219" cy="33855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1828435">
              <a:spcAft>
                <a:spcPts val="2000"/>
              </a:spcAft>
            </a:pPr>
            <a:fld id="{278133DE-9F15-4777-B71A-DD5F2A148F48}" type="slidenum">
              <a:rPr lang="en-GB" sz="2200" smtClean="0">
                <a:solidFill>
                  <a:prstClr val="white">
                    <a:lumMod val="50000"/>
                  </a:prstClr>
                </a:solidFill>
              </a:rPr>
              <a:pPr defTabSz="1828435">
                <a:spcAft>
                  <a:spcPts val="2000"/>
                </a:spcAft>
              </a:pPr>
              <a:t>‹#›</a:t>
            </a:fld>
            <a:endParaRPr lang="en-GB" sz="22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535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8" r:id="rId1"/>
    <p:sldLayoutId id="2147485209" r:id="rId2"/>
    <p:sldLayoutId id="2147485210" r:id="rId3"/>
    <p:sldLayoutId id="2147485211" r:id="rId4"/>
    <p:sldLayoutId id="2147485212" r:id="rId5"/>
    <p:sldLayoutId id="2147485213" r:id="rId6"/>
    <p:sldLayoutId id="2147485214" r:id="rId7"/>
    <p:sldLayoutId id="2147485215" r:id="rId8"/>
    <p:sldLayoutId id="2147485216" r:id="rId9"/>
    <p:sldLayoutId id="2147485217" r:id="rId10"/>
    <p:sldLayoutId id="2147485218" r:id="rId11"/>
    <p:sldLayoutId id="2147485219" r:id="rId12"/>
    <p:sldLayoutId id="2147485220" r:id="rId13"/>
    <p:sldLayoutId id="2147485221" r:id="rId14"/>
    <p:sldLayoutId id="2147485222" r:id="rId15"/>
    <p:sldLayoutId id="2147485223" r:id="rId16"/>
    <p:sldLayoutId id="2147485224" r:id="rId17"/>
    <p:sldLayoutId id="2147485225" r:id="rId18"/>
    <p:sldLayoutId id="2147485226" r:id="rId19"/>
  </p:sldLayoutIdLst>
  <p:hf sldNum="0" hdr="0" ftr="0" dt="0"/>
  <p:txStyles>
    <p:titleStyle>
      <a:lvl1pPr algn="l" defTabSz="182843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19" indent="-539919" algn="l" defTabSz="182843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54" indent="-539919" algn="l" defTabSz="182843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90" indent="-539919" algn="l" defTabSz="182843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7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725" indent="-539919" algn="l" defTabSz="182843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660" indent="-539919" algn="l" defTabSz="182843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195" indent="-457109" algn="l" defTabSz="18284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412" indent="-457109" algn="l" defTabSz="18284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9" indent="-457109" algn="l" defTabSz="18284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5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2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9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34" y="703097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34" y="3636477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800">
                <a:solidFill>
                  <a:srgbClr val="C1C1C1"/>
                </a:solidFill>
              </a:defRPr>
            </a:lvl1pPr>
          </a:lstStyle>
          <a:p>
            <a:pPr defTabSz="1784232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800">
                <a:solidFill>
                  <a:srgbClr val="C1C1C1"/>
                </a:solidFill>
              </a:defRPr>
            </a:lvl1pPr>
          </a:lstStyle>
          <a:p>
            <a:pPr defTabSz="1784232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3" y="13069642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800">
                <a:solidFill>
                  <a:srgbClr val="C1C1C1"/>
                </a:solidFill>
              </a:defRPr>
            </a:lvl1pPr>
          </a:lstStyle>
          <a:p>
            <a:pPr defTabSz="1784232"/>
            <a:r>
              <a:rPr lang="nb-NO"/>
              <a:t> Side </a:t>
            </a:r>
            <a:fld id="{5751DFAA-887F-4071-8EAD-E8CA316FCF06}" type="slidenum">
              <a:rPr lang="nb-NO" smtClean="0"/>
              <a:pPr defTabSz="1784232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0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44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8" r:id="rId1"/>
    <p:sldLayoutId id="2147485229" r:id="rId2"/>
    <p:sldLayoutId id="2147485230" r:id="rId3"/>
    <p:sldLayoutId id="2147485231" r:id="rId4"/>
    <p:sldLayoutId id="2147485232" r:id="rId5"/>
    <p:sldLayoutId id="2147485233" r:id="rId6"/>
    <p:sldLayoutId id="2147485234" r:id="rId7"/>
    <p:sldLayoutId id="2147485235" r:id="rId8"/>
    <p:sldLayoutId id="2147485236" r:id="rId9"/>
    <p:sldLayoutId id="2147485237" r:id="rId10"/>
    <p:sldLayoutId id="2147485238" r:id="rId11"/>
  </p:sldLayoutIdLst>
  <p:hf hdr="0" ftr="0" dt="0"/>
  <p:txStyles>
    <p:titleStyle>
      <a:lvl1pPr algn="l" defTabSz="1784232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849" indent="-526849" algn="l" defTabSz="178423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432" indent="-526849" algn="l" defTabSz="178423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826" indent="-526849" algn="l" defTabSz="178423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1358" indent="-526849" algn="l" defTabSz="178423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844" indent="-526849" algn="l" defTabSz="1784232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6641" indent="-446099" algn="l" defTabSz="17842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8757" indent="-446099" algn="l" defTabSz="17842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0878" indent="-446099" algn="l" defTabSz="17842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2990" indent="-446099" algn="l" defTabSz="17842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144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4232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6336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8458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0576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2711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4817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6925" algn="l" defTabSz="1784232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83843543"/>
              </p:ext>
            </p:extLst>
          </p:nvPr>
        </p:nvGraphicFramePr>
        <p:xfrm>
          <a:off x="3040" y="2646"/>
          <a:ext cx="2645" cy="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040" y="2646"/>
                        <a:ext cx="2645" cy="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395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395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3955"/>
            <a:r>
              <a:rPr lang="nb-NO"/>
              <a:t> Side </a:t>
            </a:r>
            <a:fld id="{5751DFAA-887F-4071-8EAD-E8CA316FCF06}" type="slidenum">
              <a:rPr lang="nb-NO" smtClean="0"/>
              <a:pPr defTabSz="178395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536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hf hdr="0" ftr="0" dt="0"/>
  <p:txStyles>
    <p:titleStyle>
      <a:lvl1pPr algn="l" defTabSz="178395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762" indent="-526762" algn="l" defTabSz="178395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277" indent="-526762" algn="l" defTabSz="178395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610" indent="-526762" algn="l" defTabSz="178395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1081" indent="-526762" algn="l" defTabSz="178395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494" indent="-526762" algn="l" defTabSz="178395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5879" indent="-446029" algn="l" defTabSz="17839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7853" indent="-446029" algn="l" defTabSz="17839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89838" indent="-446029" algn="l" defTabSz="17839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1805" indent="-446029" algn="l" defTabSz="17839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005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3955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5919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7900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59884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1874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3843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5810" algn="l" defTabSz="178395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38438013"/>
              </p:ext>
            </p:extLst>
          </p:nvPr>
        </p:nvGraphicFramePr>
        <p:xfrm>
          <a:off x="3040" y="2646"/>
          <a:ext cx="2645" cy="26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040" y="2646"/>
                        <a:ext cx="2645" cy="26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84131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84131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84131"/>
            <a:r>
              <a:rPr lang="nb-NO"/>
              <a:t> Side </a:t>
            </a:r>
            <a:fld id="{5751DFAA-887F-4071-8EAD-E8CA316FCF06}" type="slidenum">
              <a:rPr lang="nb-NO" smtClean="0"/>
              <a:pPr defTabSz="1784131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6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hf hdr="0" ftr="0" dt="0"/>
  <p:txStyles>
    <p:titleStyle>
      <a:lvl1pPr algn="l" defTabSz="1784131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812" indent="-526812" algn="l" defTabSz="17841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377" indent="-526812" algn="l" defTabSz="17841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748" indent="-526812" algn="l" defTabSz="17841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1254" indent="-526812" algn="l" defTabSz="17841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720" indent="-526812" algn="l" defTabSz="1784131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6369" indent="-446074" algn="l" defTabSz="17841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8431" indent="-446074" algn="l" defTabSz="17841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90507" indent="-446074" algn="l" defTabSz="17841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2565" indent="-446074" algn="l" defTabSz="178413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2095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4131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6186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8262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60329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2410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4467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6527" algn="l" defTabSz="1784131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2397745" y="593728"/>
            <a:ext cx="18718782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78112" tIns="88851" rIns="178112" bIns="8885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  <p:sp>
        <p:nvSpPr>
          <p:cNvPr id="1028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2397745" y="3184530"/>
            <a:ext cx="18718782" cy="9051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78112" tIns="88851" rIns="178112" bIns="888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0415484" y="12628800"/>
            <a:ext cx="2004163" cy="432000"/>
          </a:xfrm>
          <a:prstGeom prst="rect">
            <a:avLst/>
          </a:prstGeom>
        </p:spPr>
        <p:txBody>
          <a:bodyPr lIns="140105" tIns="88851" rIns="0" bIns="88851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fld id="{DA2BD35D-A3E1-4509-A475-9B35C4AA3138}" type="datetime4">
              <a:rPr lang="nb-NO" smtClean="0">
                <a:solidFill>
                  <a:prstClr val="black"/>
                </a:solidFill>
                <a:latin typeface="Arial" charset="0"/>
              </a:rPr>
              <a:pPr defTabSz="890972" fontAlgn="base">
                <a:spcBef>
                  <a:spcPct val="0"/>
                </a:spcBef>
                <a:spcAft>
                  <a:spcPct val="0"/>
                </a:spcAft>
                <a:defRPr/>
              </a:pPr>
              <a:t>3. april 2019</a:t>
            </a:fld>
            <a:endParaRPr lang="nb-NO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951221" y="12628800"/>
            <a:ext cx="11376526" cy="432000"/>
          </a:xfrm>
          <a:prstGeom prst="rect">
            <a:avLst/>
          </a:prstGeom>
        </p:spPr>
        <p:txBody>
          <a:bodyPr lIns="178112" tIns="88851" rIns="0" bIns="88851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>
                <a:solidFill>
                  <a:prstClr val="black"/>
                </a:solidFill>
                <a:latin typeface="Arial" charset="0"/>
              </a:rPr>
              <a:t>Tittel på presentasjonen</a:t>
            </a:r>
            <a:endParaRPr lang="nb-NO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488915" y="12628800"/>
            <a:ext cx="1007220" cy="432000"/>
          </a:xfrm>
          <a:prstGeom prst="rect">
            <a:avLst/>
          </a:prstGeom>
        </p:spPr>
        <p:txBody>
          <a:bodyPr lIns="178112" tIns="88851" rIns="0" bIns="88851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pPr defTabSz="890972" fontAlgn="base">
              <a:spcBef>
                <a:spcPct val="0"/>
              </a:spcBef>
              <a:spcAft>
                <a:spcPct val="0"/>
              </a:spcAft>
              <a:defRPr/>
            </a:pPr>
            <a:fld id="{915A8C69-1E23-4468-AC94-010B558DD334}" type="slidenum">
              <a:rPr lang="nb-NO" smtClean="0">
                <a:solidFill>
                  <a:prstClr val="black"/>
                </a:solidFill>
                <a:latin typeface="Arial" charset="0"/>
              </a:rPr>
              <a:pPr defTabSz="89097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nb-NO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1191210" y="12608657"/>
            <a:ext cx="5184239" cy="441047"/>
          </a:xfrm>
          <a:prstGeom prst="rect">
            <a:avLst/>
          </a:prstGeom>
          <a:noFill/>
        </p:spPr>
        <p:txBody>
          <a:bodyPr wrap="square" lIns="178112" tIns="88851" rIns="178112" bIns="88851" rtlCol="0">
            <a:spAutoFit/>
          </a:bodyPr>
          <a:lstStyle/>
          <a:p>
            <a:pPr defTabSz="17818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700" dirty="0">
                <a:solidFill>
                  <a:prstClr val="black"/>
                </a:solidFill>
                <a:latin typeface="Arial" charset="0"/>
              </a:rPr>
              <a:t>Helse- og omsorgsdepartementet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86" y="12623402"/>
            <a:ext cx="360017" cy="437192"/>
          </a:xfrm>
          <a:prstGeom prst="rect">
            <a:avLst/>
          </a:prstGeom>
        </p:spPr>
      </p:pic>
      <p:cxnSp>
        <p:nvCxnSpPr>
          <p:cNvPr id="12" name="Rett linje 11"/>
          <p:cNvCxnSpPr/>
          <p:nvPr/>
        </p:nvCxnSpPr>
        <p:spPr>
          <a:xfrm>
            <a:off x="1227656" y="12402620"/>
            <a:ext cx="0" cy="131338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32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6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5pPr>
      <a:lvl6pPr marL="890922"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6pPr>
      <a:lvl7pPr marL="1781803"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7pPr>
      <a:lvl8pPr marL="2672679"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8pPr>
      <a:lvl9pPr marL="3563596" algn="l" rtl="0" eaLnBrk="1" fontAlgn="base" hangingPunct="1">
        <a:spcBef>
          <a:spcPct val="0"/>
        </a:spcBef>
        <a:spcAft>
          <a:spcPct val="0"/>
        </a:spcAft>
        <a:defRPr sz="6200">
          <a:solidFill>
            <a:schemeClr val="tx1"/>
          </a:solidFill>
          <a:latin typeface="Verdana" pitchFamily="34" charset="0"/>
        </a:defRPr>
      </a:lvl9pPr>
    </p:titleStyle>
    <p:bodyStyle>
      <a:lvl1pPr marL="668174" indent="-66817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5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447741" indent="-5568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4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227238" indent="-44549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118134" indent="-44549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4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009048" indent="-44549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4899955" indent="-445491" algn="l" defTabSz="1781803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6pPr>
      <a:lvl7pPr marL="5790841" indent="-445491" algn="l" defTabSz="1781803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6681749" indent="-445491" algn="l" defTabSz="1781803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8pPr>
      <a:lvl9pPr marL="7572627" indent="-445491" algn="l" defTabSz="1781803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0922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1803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2679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3596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54489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45410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36284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27170" algn="l" defTabSz="1781803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86071" y="3372138"/>
            <a:ext cx="21942724" cy="151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2426" y="5284331"/>
            <a:ext cx="21942724" cy="6729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81912" y="12881023"/>
            <a:ext cx="5009687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764463">
              <a:defRPr sz="2100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328983" y="12878190"/>
            <a:ext cx="9892684" cy="331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defTabSz="1764463">
              <a:defRPr sz="2100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1392694" y="12878193"/>
            <a:ext cx="2135634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1764463">
              <a:defRPr sz="2100"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997049-3ACC-4EB2-8041-37CAA67F0314}" type="slidenum">
              <a:rPr lang="nb-NO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nb-NO">
              <a:solidFill>
                <a:srgbClr val="000000"/>
              </a:solidFill>
            </a:endParaRPr>
          </a:p>
        </p:txBody>
      </p:sp>
      <p:pic>
        <p:nvPicPr>
          <p:cNvPr id="1031" name="Picture 22" descr="PPT_pres_underlag-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86" y="145"/>
            <a:ext cx="24378795" cy="1814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834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</p:sldLayoutIdLst>
  <p:txStyles>
    <p:titleStyle>
      <a:lvl1pPr algn="l" defTabSz="1764463" rtl="0" eaLnBrk="0" fontAlgn="base" hangingPunct="0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+mj-lt"/>
          <a:ea typeface="+mj-ea"/>
          <a:cs typeface="+mj-cs"/>
        </a:defRPr>
      </a:lvl1pPr>
      <a:lvl2pPr algn="l" defTabSz="1764463" rtl="0" eaLnBrk="0" fontAlgn="base" hangingPunct="0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2pPr>
      <a:lvl3pPr algn="l" defTabSz="1764463" rtl="0" eaLnBrk="0" fontAlgn="base" hangingPunct="0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3pPr>
      <a:lvl4pPr algn="l" defTabSz="1764463" rtl="0" eaLnBrk="0" fontAlgn="base" hangingPunct="0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4pPr>
      <a:lvl5pPr algn="l" defTabSz="1764463" rtl="0" eaLnBrk="0" fontAlgn="base" hangingPunct="0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5pPr>
      <a:lvl6pPr marL="773377" algn="l" defTabSz="1764463" rtl="0" fontAlgn="base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6pPr>
      <a:lvl7pPr marL="1546970" algn="l" defTabSz="1764463" rtl="0" fontAlgn="base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7pPr>
      <a:lvl8pPr marL="2320394" algn="l" defTabSz="1764463" rtl="0" fontAlgn="base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8pPr>
      <a:lvl9pPr marL="3093902" algn="l" defTabSz="1764463" rtl="0" fontAlgn="base">
        <a:spcBef>
          <a:spcPct val="0"/>
        </a:spcBef>
        <a:spcAft>
          <a:spcPct val="0"/>
        </a:spcAft>
        <a:defRPr sz="7600">
          <a:solidFill>
            <a:srgbClr val="315A57"/>
          </a:solidFill>
          <a:latin typeface="Verdana" pitchFamily="34" charset="0"/>
          <a:cs typeface="Arial" charset="0"/>
        </a:defRPr>
      </a:lvl9pPr>
    </p:titleStyle>
    <p:bodyStyle>
      <a:lvl1pPr marL="660670" indent="-660670" algn="l" defTabSz="1764463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ea typeface="+mn-ea"/>
          <a:cs typeface="+mn-cs"/>
        </a:defRPr>
      </a:lvl1pPr>
      <a:lvl2pPr marL="1434142" indent="-550670" algn="l" defTabSz="1764463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2pPr>
      <a:lvl3pPr marL="2204945" indent="-440355" algn="l" defTabSz="1764463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3pPr>
      <a:lvl4pPr marL="3088509" indent="-440355" algn="l" defTabSz="1764463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4pPr>
      <a:lvl5pPr marL="3969394" indent="-440355" algn="l" defTabSz="1764463" rtl="0" eaLnBrk="0" fontAlgn="base" hangingPunct="0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5pPr>
      <a:lvl6pPr marL="4742861" indent="-440355" algn="l" defTabSz="1764463" rtl="0" fontAlgn="base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6pPr>
      <a:lvl7pPr marL="5516321" indent="-440355" algn="l" defTabSz="1764463" rtl="0" fontAlgn="base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7pPr>
      <a:lvl8pPr marL="6289783" indent="-440355" algn="l" defTabSz="1764463" rtl="0" fontAlgn="base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8pPr>
      <a:lvl9pPr marL="7063238" indent="-440355" algn="l" defTabSz="1764463" rtl="0" fontAlgn="base">
        <a:spcBef>
          <a:spcPct val="20000"/>
        </a:spcBef>
        <a:spcAft>
          <a:spcPct val="0"/>
        </a:spcAft>
        <a:buFont typeface="Verdana" pitchFamily="34" charset="0"/>
        <a:buChar char="›"/>
        <a:defRPr sz="3800">
          <a:solidFill>
            <a:srgbClr val="537877"/>
          </a:solidFill>
          <a:latin typeface="+mn-lt"/>
          <a:cs typeface="+mn-cs"/>
        </a:defRPr>
      </a:lvl9pPr>
    </p:bodyStyle>
    <p:otherStyle>
      <a:defPPr>
        <a:defRPr lang="nb-NO"/>
      </a:defPPr>
      <a:lvl1pPr marL="0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73377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546970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320394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4pPr>
      <a:lvl5pPr marL="3093902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5pPr>
      <a:lvl6pPr marL="3867341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6pPr>
      <a:lvl7pPr marL="4640803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7pPr>
      <a:lvl8pPr marL="5414273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8pPr>
      <a:lvl9pPr marL="6187737" algn="l" defTabSz="1546970" rtl="0" eaLnBrk="1" latinLnBrk="0" hangingPunct="1">
        <a:defRPr sz="3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</p:sldLayoutIdLst>
  <p:hf hdr="0" ftr="0" dt="0"/>
  <p:txStyles>
    <p:titleStyle>
      <a:lvl1pPr algn="l" defTabSz="1783774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6716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48185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69474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790900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12275" indent="-526716" algn="l" defTabSz="1783774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05384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97272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89165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581048" indent="-445986" algn="l" defTabSz="178377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191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8377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75650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67543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59434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51341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43217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35098" algn="l" defTabSz="1783774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444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444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93280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93280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1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93280"/>
            <a:r>
              <a:rPr lang="nb-NO"/>
              <a:t> Side </a:t>
            </a:r>
            <a:fld id="{5751DFAA-887F-4071-8EAD-E8CA316FCF06}" type="slidenum">
              <a:rPr lang="nb-NO" smtClean="0"/>
              <a:pPr defTabSz="1793280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29" y="13094838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71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</p:sldLayoutIdLst>
  <p:hf hdr="0" ftr="0" dt="0"/>
  <p:txStyles>
    <p:titleStyle>
      <a:lvl1pPr algn="l" defTabSz="1793280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29511" indent="-529511" algn="l" defTabSz="179328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53215" indent="-529511" algn="l" defTabSz="179328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76743" indent="-529511" algn="l" defTabSz="179328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00435" indent="-529511" algn="l" defTabSz="179328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24022" indent="-529511" algn="l" defTabSz="1793280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31453" indent="-448367" algn="l" defTabSz="17932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28075" indent="-448367" algn="l" defTabSz="17932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724705" indent="-448367" algn="l" defTabSz="17932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21336" indent="-448367" algn="l" defTabSz="17932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6683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3280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89887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86509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83139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79768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76386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73019" algn="l" defTabSz="1793280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529" y="703098"/>
            <a:ext cx="21566695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529" y="3636476"/>
            <a:ext cx="21566695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3" y="13069642"/>
            <a:ext cx="1692333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900">
                <a:solidFill>
                  <a:srgbClr val="C1C1C1"/>
                </a:solidFill>
              </a:defRPr>
            </a:lvl1pPr>
          </a:lstStyle>
          <a:p>
            <a:pPr defTabSz="179504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42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900">
                <a:solidFill>
                  <a:srgbClr val="C1C1C1"/>
                </a:solidFill>
              </a:defRPr>
            </a:lvl1pPr>
          </a:lstStyle>
          <a:p>
            <a:pPr defTabSz="179504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19" y="13069642"/>
            <a:ext cx="1436096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900">
                <a:solidFill>
                  <a:srgbClr val="C1C1C1"/>
                </a:solidFill>
              </a:defRPr>
            </a:lvl1pPr>
          </a:lstStyle>
          <a:p>
            <a:pPr defTabSz="1795049"/>
            <a:r>
              <a:rPr lang="nb-NO"/>
              <a:t> Side </a:t>
            </a:r>
            <a:fld id="{5751DFAA-887F-4071-8EAD-E8CA316FCF06}" type="slidenum">
              <a:rPr lang="nb-NO" smtClean="0"/>
              <a:pPr defTabSz="179504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52" y="13094838"/>
            <a:ext cx="4054051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11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</p:sldLayoutIdLst>
  <p:hf hdr="0" ftr="0" dt="0"/>
  <p:txStyles>
    <p:titleStyle>
      <a:lvl1pPr algn="l" defTabSz="17950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0085" indent="-530085" algn="l" defTabSz="17950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54077" indent="-530085" algn="l" defTabSz="17950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378078" indent="-530085" algn="l" defTabSz="17950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02235" indent="-530085" algn="l" defTabSz="17950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4pPr>
      <a:lvl5pPr marL="2226253" indent="-530085" algn="l" defTabSz="17950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100" kern="1200">
          <a:solidFill>
            <a:srgbClr val="000000"/>
          </a:solidFill>
          <a:latin typeface="+mn-lt"/>
          <a:ea typeface="+mn-ea"/>
          <a:cs typeface="+mn-cs"/>
        </a:defRPr>
      </a:lvl5pPr>
      <a:lvl6pPr marL="4936379" indent="-448828" algn="l" defTabSz="17950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833872" indent="-448828" algn="l" defTabSz="17950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731372" indent="-448828" algn="l" defTabSz="17950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28897" indent="-448828" algn="l" defTabSz="17950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97609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5049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692544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590027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487563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385103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282634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180088" algn="l" defTabSz="179504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69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dertsirkel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pic>
        <p:nvPicPr>
          <p:cNvPr id="14" name="Hvit_logo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444" y="1440182"/>
            <a:ext cx="3167999" cy="216847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440427" y="4284618"/>
            <a:ext cx="17138141" cy="2733184"/>
          </a:xfrm>
        </p:spPr>
        <p:txBody>
          <a:bodyPr>
            <a:normAutofit/>
          </a:bodyPr>
          <a:lstStyle/>
          <a:p>
            <a:r>
              <a:rPr lang="nb-NO" dirty="0"/>
              <a:t>Rapportering fra porteføljekontakter til nasjonalt porteføljekontor i 2017</a:t>
            </a: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50" y="8267702"/>
            <a:ext cx="19040459" cy="4191000"/>
          </a:xfrm>
        </p:spPr>
        <p:txBody>
          <a:bodyPr>
            <a:normAutofit lnSpcReduction="10000"/>
          </a:bodyPr>
          <a:lstStyle/>
          <a:p>
            <a:pPr marL="571354" indent="-571354">
              <a:buFontTx/>
              <a:buChar char="-"/>
            </a:pPr>
            <a:endParaRPr lang="nb-NO" dirty="0"/>
          </a:p>
          <a:p>
            <a:pPr marL="571354" indent="-571354">
              <a:buFontTx/>
              <a:buChar char="-"/>
            </a:pPr>
            <a:endParaRPr lang="nb-NO" dirty="0"/>
          </a:p>
          <a:p>
            <a:pPr marL="571354" indent="-571354">
              <a:buFontTx/>
              <a:buChar char="-"/>
            </a:pPr>
            <a:endParaRPr lang="nb-NO" dirty="0"/>
          </a:p>
          <a:p>
            <a:pPr marL="571354" indent="-571354">
              <a:buFontTx/>
              <a:buChar char="-"/>
            </a:pPr>
            <a:endParaRPr lang="nb-NO" dirty="0"/>
          </a:p>
          <a:p>
            <a:pPr marL="571354" indent="-571354">
              <a:buFontTx/>
              <a:buChar char="-"/>
            </a:pPr>
            <a:endParaRPr lang="nb-NO" dirty="0"/>
          </a:p>
          <a:p>
            <a:pPr marL="571354" indent="-571354">
              <a:buFontTx/>
              <a:buChar char="-"/>
            </a:pPr>
            <a:endParaRPr lang="nb-NO"/>
          </a:p>
          <a:p>
            <a:pPr marL="571354" indent="-571354">
              <a:buFontTx/>
              <a:buChar char="-"/>
            </a:pPr>
            <a:r>
              <a:rPr lang="nb-NO"/>
              <a:t>Revidert januar 2017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1975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2</a:t>
            </a:fld>
            <a:endParaRPr lang="nb-NO">
              <a:solidFill>
                <a:srgbClr val="2C4457"/>
              </a:solidFill>
            </a:endParaRPr>
          </a:p>
        </p:txBody>
      </p:sp>
      <p:graphicFrame>
        <p:nvGraphicFramePr>
          <p:cNvPr id="4" name="Plassholder for innhold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7819940"/>
              </p:ext>
            </p:extLst>
          </p:nvPr>
        </p:nvGraphicFramePr>
        <p:xfrm>
          <a:off x="1011988" y="1905079"/>
          <a:ext cx="22619306" cy="1116121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370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210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48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34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935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647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9346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algn="l"/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Navn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Typ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Hensik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Beskrivels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Fris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Maler</a:t>
                      </a:r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5325"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1</a:t>
                      </a: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Balansert portefølje med oppdaterte budsjettestimat,</a:t>
                      </a:r>
                      <a:r>
                        <a:rPr lang="nb-NO" sz="2800" baseline="0" dirty="0"/>
                        <a:t> med forankret finansiering og leveranseplan for 2017.</a:t>
                      </a:r>
                    </a:p>
                    <a:p>
                      <a:pPr algn="l"/>
                      <a:endParaRPr lang="nb-NO" sz="2800" baseline="0" dirty="0"/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Bestilling</a:t>
                      </a: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Legge frem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en balansert 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 2017 portefølje med leveranseplan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i NUIT 8.mars og Nasjonalt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e-helsestyre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 15.-16.mars. </a:t>
                      </a:r>
                    </a:p>
                    <a:p>
                      <a:pPr marL="457200" indent="-457200" algn="l">
                        <a:buFont typeface="+mj-lt"/>
                        <a:buAutoNum type="arabicPeriod"/>
                      </a:pPr>
                      <a:endParaRPr lang="nb-NO" sz="28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Legge frem 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analyser av porteføljen.</a:t>
                      </a: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Porteføljekontakter fyller ut endelige</a:t>
                      </a:r>
                      <a:r>
                        <a:rPr lang="nb-NO" sz="2800" baseline="0" dirty="0"/>
                        <a:t> budsjettestimater med forankret finansiering og 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leveranser for </a:t>
                      </a:r>
                      <a:r>
                        <a:rPr lang="nb-NO" sz="2800" baseline="0" dirty="0"/>
                        <a:t>2017 for hvert prosjekt/program. </a:t>
                      </a:r>
                    </a:p>
                    <a:p>
                      <a:pPr algn="l"/>
                      <a:r>
                        <a:rPr lang="nb-NO" sz="2800" baseline="0" dirty="0"/>
                        <a:t>Gjøre QA på hvilke prosjekt som krever EPJ utvikling i 2017</a:t>
                      </a:r>
                    </a:p>
                    <a:p>
                      <a:pPr algn="l"/>
                      <a:endParaRPr lang="nb-NO" sz="2800" b="0" baseline="0" dirty="0">
                        <a:solidFill>
                          <a:schemeClr val="dk1"/>
                        </a:solidFill>
                      </a:endParaRP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27.1</a:t>
                      </a: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="0" dirty="0">
                          <a:solidFill>
                            <a:schemeClr val="tx1"/>
                          </a:solidFill>
                        </a:rPr>
                        <a:t>Fylle ut</a:t>
                      </a:r>
                      <a:r>
                        <a:rPr lang="nb-NO" sz="2800" b="0" baseline="0" dirty="0">
                          <a:solidFill>
                            <a:schemeClr val="tx1"/>
                          </a:solidFill>
                        </a:rPr>
                        <a:t> side 3 i Prosjekt info og status-oppdatering</a:t>
                      </a:r>
                    </a:p>
                    <a:p>
                      <a:pPr algn="l"/>
                      <a:endParaRPr lang="nb-NO" sz="2800" b="0" baseline="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nb-NO" sz="2800" b="0" baseline="0" dirty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endParaRPr lang="nb-NO" sz="2800" b="0" dirty="0">
                        <a:solidFill>
                          <a:srgbClr val="FF0000"/>
                        </a:solidFill>
                      </a:endParaRPr>
                    </a:p>
                  </a:txBody>
                  <a:tcPr marL="243824" marR="243824" marT="121920" marB="121920" anchor="ctr"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41621"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2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aseline="0" dirty="0"/>
                        <a:t>Gå gjennom rapportering</a:t>
                      </a:r>
                    </a:p>
                    <a:p>
                      <a:pPr algn="l"/>
                      <a:endParaRPr lang="nb-NO" sz="2800" baseline="0" dirty="0"/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Møte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57200" indent="-457200" algn="l">
                        <a:buFont typeface="+mj-lt"/>
                        <a:buAutoNum type="arabicPeriod"/>
                      </a:pPr>
                      <a:endParaRPr lang="nb-NO" sz="28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="0" baseline="0" dirty="0">
                          <a:solidFill>
                            <a:schemeClr val="tx1"/>
                          </a:solidFill>
                        </a:rPr>
                        <a:t>Møte mellom Nasjonalt porteføljekontor og porteføljekontakter for Hdir, NIKT og e-helse (1:1) 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24.1,</a:t>
                      </a:r>
                      <a:r>
                        <a:rPr lang="nb-NO" sz="28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30.1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nb-NO" sz="2800" b="0" dirty="0">
                        <a:solidFill>
                          <a:srgbClr val="FF0000"/>
                        </a:solidFill>
                      </a:endParaRP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7995">
                <a:tc>
                  <a:txBody>
                    <a:bodyPr/>
                    <a:lstStyle/>
                    <a:p>
                      <a:pPr algn="l"/>
                      <a:r>
                        <a:rPr lang="nb-NO" sz="2800" dirty="0"/>
                        <a:t>3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aseline="0" dirty="0">
                          <a:solidFill>
                            <a:schemeClr val="dk1"/>
                          </a:solidFill>
                        </a:rPr>
                        <a:t>Presentasjon av plan for 2017 og overordnet informasjon om prosjekt/program nasjonal </a:t>
                      </a:r>
                    </a:p>
                    <a:p>
                      <a:pPr algn="l"/>
                      <a:r>
                        <a:rPr lang="nb-NO" sz="2800" baseline="0" dirty="0">
                          <a:solidFill>
                            <a:schemeClr val="dk1"/>
                          </a:solidFill>
                        </a:rPr>
                        <a:t>e-helse portefølje</a:t>
                      </a:r>
                      <a:endParaRPr lang="nb-NO" sz="2800" baseline="0" dirty="0">
                        <a:solidFill>
                          <a:srgbClr val="FF0000"/>
                        </a:solidFill>
                      </a:endParaRP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Møte/WS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aseline="0" dirty="0"/>
                        <a:t>Få bedre innsikt og forståelse i porteføljen på et overordnet nivå, formål på tvers av aktører.</a:t>
                      </a:r>
                    </a:p>
                    <a:p>
                      <a:pPr algn="l"/>
                      <a:endParaRPr lang="nb-NO" sz="2800" baseline="0" dirty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Bidra til å øke kvaliteten på prosjektinformasjon som kommuniseres om porteføljen.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Felles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møte/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WS for porteføljekontakter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og prosjektkontakter.</a:t>
                      </a:r>
                    </a:p>
                    <a:p>
                      <a:pPr algn="l"/>
                      <a:endParaRPr lang="nb-NO" sz="2800" baseline="0" dirty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endParaRPr lang="nb-NO" sz="2800" dirty="0">
                        <a:solidFill>
                          <a:srgbClr val="FF0000"/>
                        </a:solidFill>
                      </a:endParaRP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24.1</a:t>
                      </a:r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nb-NO" sz="2800" b="0" dirty="0"/>
                    </a:p>
                  </a:txBody>
                  <a:tcPr marL="243824" marR="243824" marT="121920" marB="121920" anchor="ctr">
                    <a:lnT w="190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939948" y="934861"/>
            <a:ext cx="13101710" cy="1440182"/>
          </a:xfrm>
        </p:spPr>
        <p:txBody>
          <a:bodyPr>
            <a:normAutofit fontScale="90000"/>
          </a:bodyPr>
          <a:lstStyle/>
          <a:p>
            <a:r>
              <a:rPr lang="nb-NO" sz="6000" dirty="0"/>
              <a:t>Bestillinger og møter våren 2017, s.1</a:t>
            </a:r>
          </a:p>
        </p:txBody>
      </p:sp>
    </p:spTree>
    <p:extLst>
      <p:ext uri="{BB962C8B-B14F-4D97-AF65-F5344CB8AC3E}">
        <p14:creationId xmlns:p14="http://schemas.microsoft.com/office/powerpoint/2010/main" val="1206965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3</a:t>
            </a:fld>
            <a:endParaRPr lang="nb-NO">
              <a:solidFill>
                <a:srgbClr val="2C4457"/>
              </a:solidFill>
            </a:endParaRPr>
          </a:p>
        </p:txBody>
      </p:sp>
      <p:graphicFrame>
        <p:nvGraphicFramePr>
          <p:cNvPr id="4" name="Plassholder for innhold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9716017"/>
              </p:ext>
            </p:extLst>
          </p:nvPr>
        </p:nvGraphicFramePr>
        <p:xfrm>
          <a:off x="912557" y="2386272"/>
          <a:ext cx="22553257" cy="1092925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946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49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427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180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57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907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Navn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Typ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Hensik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Beskrivels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Frist</a:t>
                      </a:r>
                    </a:p>
                    <a:p>
                      <a:r>
                        <a:rPr lang="nb-NO" sz="2800" dirty="0"/>
                        <a:t>/Dato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Maler</a:t>
                      </a:r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0814">
                <a:tc>
                  <a:txBody>
                    <a:bodyPr/>
                    <a:lstStyle/>
                    <a:p>
                      <a:r>
                        <a:rPr lang="nb-NO" sz="2800" dirty="0"/>
                        <a:t>4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endParaRPr lang="nb-NO" sz="2800" dirty="0"/>
                    </a:p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Informasjon om nye og videreførte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prosjekter for 2018, inkludert f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oreløpig budsjettestimat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nb-NO" sz="2800" dirty="0"/>
                    </a:p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Oversikt over samfinansieringsbehov for nye og videreførte prosjekter for 2018</a:t>
                      </a:r>
                    </a:p>
                    <a:p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Bestill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Legge frem 1. versjon av bruttooversikt over 2018 porteføljen og behov for samfinansiering til orientering </a:t>
                      </a:r>
                      <a:r>
                        <a:rPr lang="nb-NO" sz="2800"/>
                        <a:t>i NUIT</a:t>
                      </a:r>
                      <a:r>
                        <a:rPr lang="nb-NO" sz="2800" baseline="0"/>
                        <a:t> </a:t>
                      </a:r>
                      <a:r>
                        <a:rPr lang="nb-NO" sz="2800"/>
                        <a:t>møtet </a:t>
                      </a:r>
                      <a:r>
                        <a:rPr lang="nb-NO" sz="2800" dirty="0"/>
                        <a:t>31.mai</a:t>
                      </a:r>
                      <a:r>
                        <a:rPr lang="nb-NO" sz="2800" baseline="0" dirty="0"/>
                        <a:t> og Nasjonalt e-helsestyre 22.juni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28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baseline="0" dirty="0"/>
                        <a:t>Legge frem analyser av porteføljen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Porteføljekontakter</a:t>
                      </a:r>
                      <a:r>
                        <a:rPr lang="nb-NO" sz="2800" baseline="0" dirty="0"/>
                        <a:t> fyller ut mal for prosjektinf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28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baseline="0" dirty="0"/>
                        <a:t>Nye prosjekter leverer styringsdokumentasjon.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21.4</a:t>
                      </a:r>
                    </a:p>
                  </a:txBody>
                  <a:tcPr marL="243824" marR="243824" marT="121920" marB="12192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2800" b="0" dirty="0">
                          <a:solidFill>
                            <a:schemeClr val="tx1"/>
                          </a:solidFill>
                        </a:rPr>
                        <a:t>Prosjekt info for nye og videreførte prosjekter </a:t>
                      </a:r>
                    </a:p>
                    <a:p>
                      <a:pPr algn="ctr"/>
                      <a:endParaRPr lang="nb-NO" sz="2800" b="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nb-NO" sz="2800" b="0" dirty="0">
                          <a:solidFill>
                            <a:schemeClr val="tx1"/>
                          </a:solidFill>
                        </a:rPr>
                        <a:t>Status-rapportering for eksisterende prosjekter</a:t>
                      </a:r>
                    </a:p>
                    <a:p>
                      <a:pPr algn="ctr"/>
                      <a:endParaRPr lang="nb-NO" sz="2800" b="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0057"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Statusrapportering (gjelder prosjekter i eksisterende 2017 portefølje)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Bestill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Forberede status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for porteføljen</a:t>
                      </a:r>
                      <a:endParaRPr lang="nb-NO" sz="280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Porteføljekontakter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fyller ut statusmal for hvert prosjekt/program i porteføljen</a:t>
                      </a:r>
                      <a:endParaRPr lang="nb-NO" sz="280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nb-NO" sz="1600" b="1" dirty="0"/>
                    </a:p>
                  </a:txBody>
                  <a:tcPr marL="146304" marR="146304" marT="73152" marB="73152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nb-NO" sz="1600" b="0" dirty="0"/>
                    </a:p>
                  </a:txBody>
                  <a:tcPr marL="146304" marR="146304" marT="73152" marB="731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7440">
                <a:tc>
                  <a:txBody>
                    <a:bodyPr/>
                    <a:lstStyle/>
                    <a:p>
                      <a:r>
                        <a:rPr lang="nb-NO" sz="2800" dirty="0"/>
                        <a:t>6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Gå gjennom statusrapportering og nye prosjekter for 2018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Møt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Gå gjennom informasjon forberedt av porteføljekontakten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:1-møter mellom Nasjonalt porteføljekontor og porteføljekontak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800" b="1" dirty="0"/>
                        <a:t>Uke 16</a:t>
                      </a:r>
                    </a:p>
                    <a:p>
                      <a:pPr algn="ctr"/>
                      <a:r>
                        <a:rPr lang="nb-NO" sz="2800" b="1" dirty="0"/>
                        <a:t>19.-21.4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endParaRPr lang="nb-NO" sz="2800" b="0" dirty="0"/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939947" y="934861"/>
            <a:ext cx="22455312" cy="1440182"/>
          </a:xfrm>
        </p:spPr>
        <p:txBody>
          <a:bodyPr>
            <a:normAutofit/>
          </a:bodyPr>
          <a:lstStyle/>
          <a:p>
            <a:r>
              <a:rPr lang="nb-NO" sz="6000" dirty="0"/>
              <a:t>Bestillinger og møter våren 2017, s. 2</a:t>
            </a:r>
          </a:p>
        </p:txBody>
      </p:sp>
    </p:spTree>
    <p:extLst>
      <p:ext uri="{BB962C8B-B14F-4D97-AF65-F5344CB8AC3E}">
        <p14:creationId xmlns:p14="http://schemas.microsoft.com/office/powerpoint/2010/main" val="2525005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4</a:t>
            </a:fld>
            <a:endParaRPr lang="nb-NO">
              <a:solidFill>
                <a:srgbClr val="2C4457"/>
              </a:solidFill>
            </a:endParaRPr>
          </a:p>
        </p:txBody>
      </p:sp>
      <p:graphicFrame>
        <p:nvGraphicFramePr>
          <p:cNvPr id="4" name="Plassholder for innhold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3872038"/>
              </p:ext>
            </p:extLst>
          </p:nvPr>
        </p:nvGraphicFramePr>
        <p:xfrm>
          <a:off x="912557" y="2386270"/>
          <a:ext cx="22837780" cy="1062066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03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21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50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073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382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560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Navn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Typ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Hensik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Beskrivels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Frist/Dato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Maler</a:t>
                      </a:r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8808">
                <a:tc>
                  <a:txBody>
                    <a:bodyPr/>
                    <a:lstStyle/>
                    <a:p>
                      <a:r>
                        <a:rPr lang="nb-NO" sz="2800" dirty="0"/>
                        <a:t>7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Oppdaterte budsjett</a:t>
                      </a:r>
                      <a:r>
                        <a:rPr lang="nb-NO" sz="2800" baseline="0" dirty="0"/>
                        <a:t> og leveranser 2018 (gjelder nye og videreførte prosjekter)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Bestill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Forberede innstilling</a:t>
                      </a:r>
                      <a:r>
                        <a:rPr lang="nb-NO" sz="2800" baseline="0" dirty="0"/>
                        <a:t> til endelig prioritering for 2018 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Porteføljekontakter</a:t>
                      </a:r>
                      <a:r>
                        <a:rPr lang="nb-NO" sz="2800" baseline="0" dirty="0"/>
                        <a:t> fyller ut ny rapporteringsmal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28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baseline="0" dirty="0"/>
                        <a:t>Nye prosjekt leverer også styringsdokumentasjon.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2800" b="1" dirty="0">
                          <a:solidFill>
                            <a:schemeClr val="tx1"/>
                          </a:solidFill>
                        </a:rPr>
                        <a:t>28.9</a:t>
                      </a:r>
                    </a:p>
                  </a:txBody>
                  <a:tcPr marL="243824" marR="243824" marT="121920" marB="12192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2800" b="0" dirty="0">
                          <a:solidFill>
                            <a:schemeClr val="tx1"/>
                          </a:solidFill>
                        </a:rPr>
                        <a:t>Ny rapporterings-mal,</a:t>
                      </a:r>
                      <a:r>
                        <a:rPr lang="nb-NO" sz="2800" b="0" baseline="0" dirty="0">
                          <a:solidFill>
                            <a:schemeClr val="tx1"/>
                          </a:solidFill>
                        </a:rPr>
                        <a:t> resultat a v prosjekt metodestøtte</a:t>
                      </a:r>
                      <a:endParaRPr lang="nb-NO" sz="2800" b="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69431"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Statusrapporter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Bestill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Forberede status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for porteføljen som underlag for 2018 prioritering</a:t>
                      </a:r>
                      <a:endParaRPr lang="nb-NO" sz="280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Porteføljekontakter</a:t>
                      </a:r>
                      <a:r>
                        <a:rPr lang="nb-NO" sz="2800" baseline="0" dirty="0">
                          <a:solidFill>
                            <a:schemeClr val="tx1"/>
                          </a:solidFill>
                        </a:rPr>
                        <a:t> fyller ut ny rapporteringsmal</a:t>
                      </a:r>
                      <a:endParaRPr lang="nb-NO" sz="2800" dirty="0">
                        <a:solidFill>
                          <a:schemeClr val="tx1"/>
                        </a:solidFill>
                      </a:endParaRPr>
                    </a:p>
                  </a:txBody>
                  <a:tcPr marL="243824" marR="243824" marT="121920" marB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nb-NO" sz="1600" b="1" dirty="0"/>
                    </a:p>
                  </a:txBody>
                  <a:tcPr marL="146304" marR="146304" marT="73152" marB="73152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nb-NO" sz="1600" b="0" dirty="0"/>
                    </a:p>
                  </a:txBody>
                  <a:tcPr marL="146304" marR="146304" marT="73152" marB="7315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0990">
                <a:tc>
                  <a:txBody>
                    <a:bodyPr/>
                    <a:lstStyle/>
                    <a:p>
                      <a:r>
                        <a:rPr lang="nb-NO" sz="2800" dirty="0"/>
                        <a:t>9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Gå gjennom rapportering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Møt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Gå gjennom informasjon forberedt av porteføljekontakten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:1-møter mellom Nasjonalt porteføljekontor og porteføljekontakt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800" b="1" dirty="0"/>
                        <a:t>Uke 39</a:t>
                      </a:r>
                    </a:p>
                    <a:p>
                      <a:pPr algn="ctr"/>
                      <a:r>
                        <a:rPr lang="nb-NO" sz="2800" b="1" dirty="0"/>
                        <a:t>25.-27.9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endParaRPr lang="nb-NO" sz="2800" b="0" dirty="0"/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4160">
                <a:tc>
                  <a:txBody>
                    <a:bodyPr/>
                    <a:lstStyle/>
                    <a:p>
                      <a:pPr marL="0" marR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10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marL="0" marR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800" dirty="0"/>
                        <a:t>Gjennomgang av forslag</a:t>
                      </a:r>
                      <a:r>
                        <a:rPr lang="nb-NO" sz="2800" baseline="0" dirty="0"/>
                        <a:t> til endelig prioritering 2017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Møte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dirty="0"/>
                        <a:t>Gå gjennom aktørens innspill til endelig </a:t>
                      </a:r>
                      <a:r>
                        <a:rPr lang="nb-NO" sz="2800" dirty="0">
                          <a:solidFill>
                            <a:schemeClr val="tx1"/>
                          </a:solidFill>
                        </a:rPr>
                        <a:t>prioritering 2018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r>
                        <a:rPr lang="nb-NO" sz="2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:1-møter </a:t>
                      </a:r>
                      <a:r>
                        <a:rPr lang="nb-NO" sz="2800" dirty="0"/>
                        <a:t>mellom Nasjonalt porteføljekontor, NUIT og NUFA </a:t>
                      </a:r>
                      <a:r>
                        <a:rPr lang="nb-NO" sz="2800"/>
                        <a:t>medlem med porteføljekontakt</a:t>
                      </a:r>
                      <a:endParaRPr lang="nb-NO" sz="2800" dirty="0"/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2800" b="1" dirty="0"/>
                        <a:t>Uke 41/42</a:t>
                      </a:r>
                    </a:p>
                    <a:p>
                      <a:pPr algn="ctr"/>
                      <a:r>
                        <a:rPr lang="nb-NO" sz="2800" b="1" dirty="0"/>
                        <a:t>12.-18.10</a:t>
                      </a:r>
                    </a:p>
                  </a:txBody>
                  <a:tcPr marL="243824" marR="243824" marT="121920" marB="121920" anchor="ctr"/>
                </a:tc>
                <a:tc>
                  <a:txBody>
                    <a:bodyPr/>
                    <a:lstStyle/>
                    <a:p>
                      <a:pPr algn="ctr"/>
                      <a:endParaRPr lang="nb-NO" sz="2800" b="0" dirty="0"/>
                    </a:p>
                  </a:txBody>
                  <a:tcPr marL="243824" marR="243824" marT="121920" marB="12192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939947" y="734139"/>
            <a:ext cx="22455312" cy="1440182"/>
          </a:xfrm>
        </p:spPr>
        <p:txBody>
          <a:bodyPr>
            <a:normAutofit/>
          </a:bodyPr>
          <a:lstStyle/>
          <a:p>
            <a:r>
              <a:rPr lang="nb-NO" sz="6000" dirty="0"/>
              <a:t>Bestillinger og møter høsten 2017</a:t>
            </a:r>
          </a:p>
        </p:txBody>
      </p:sp>
    </p:spTree>
    <p:extLst>
      <p:ext uri="{BB962C8B-B14F-4D97-AF65-F5344CB8AC3E}">
        <p14:creationId xmlns:p14="http://schemas.microsoft.com/office/powerpoint/2010/main" val="1127839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0.xml><?xml version="1.0" encoding="utf-8"?>
<a:theme xmlns:a="http://schemas.openxmlformats.org/drawingml/2006/main" name="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1.xml><?xml version="1.0" encoding="utf-8"?>
<a:theme xmlns:a="http://schemas.openxmlformats.org/drawingml/2006/main" name="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2.xml><?xml version="1.0" encoding="utf-8"?>
<a:theme xmlns:a="http://schemas.openxmlformats.org/drawingml/2006/main" name="14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3.xml><?xml version="1.0" encoding="utf-8"?>
<a:theme xmlns:a="http://schemas.openxmlformats.org/drawingml/2006/main" name="15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4.xml><?xml version="1.0" encoding="utf-8"?>
<a:theme xmlns:a="http://schemas.openxmlformats.org/drawingml/2006/main" name="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Custom 1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5.xml><?xml version="1.0" encoding="utf-8"?>
<a:theme xmlns:a="http://schemas.openxmlformats.org/drawingml/2006/main" name="9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6.xml><?xml version="1.0" encoding="utf-8"?>
<a:theme xmlns:a="http://schemas.openxmlformats.org/drawingml/2006/main" name="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7.xml><?xml version="1.0" encoding="utf-8"?>
<a:theme xmlns:a="http://schemas.openxmlformats.org/drawingml/2006/main" name="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18.xml><?xml version="1.0" encoding="utf-8"?>
<a:theme xmlns:a="http://schemas.openxmlformats.org/drawingml/2006/main" name="1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9.xml><?xml version="1.0" encoding="utf-8"?>
<a:theme xmlns:a="http://schemas.openxmlformats.org/drawingml/2006/main" name="1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.xml><?xml version="1.0" encoding="utf-8"?>
<a:theme xmlns:a="http://schemas.openxmlformats.org/drawingml/2006/main" name="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0.xml><?xml version="1.0" encoding="utf-8"?>
<a:theme xmlns:a="http://schemas.openxmlformats.org/drawingml/2006/main" name="1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1.xml><?xml version="1.0" encoding="utf-8"?>
<a:theme xmlns:a="http://schemas.openxmlformats.org/drawingml/2006/main" name="1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2.xml><?xml version="1.0" encoding="utf-8"?>
<a:theme xmlns:a="http://schemas.openxmlformats.org/drawingml/2006/main" name="1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Custom 1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3.xml><?xml version="1.0" encoding="utf-8"?>
<a:theme xmlns:a="http://schemas.openxmlformats.org/drawingml/2006/main" name="1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1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.xml><?xml version="1.0" encoding="utf-8"?>
<a:theme xmlns:a="http://schemas.openxmlformats.org/drawingml/2006/main" name="12_E-helse_PPT-mal_v01_jh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.xml><?xml version="1.0" encoding="utf-8"?>
<a:theme xmlns:a="http://schemas.openxmlformats.org/drawingml/2006/main" name="1_HOD-pptmal_16-9_Norsk">
  <a:themeElements>
    <a:clrScheme name="DSS - HOD">
      <a:dk1>
        <a:sysClr val="windowText" lastClr="000000"/>
      </a:dk1>
      <a:lt1>
        <a:sysClr val="window" lastClr="FFFFFF"/>
      </a:lt1>
      <a:dk2>
        <a:srgbClr val="B5BF00"/>
      </a:dk2>
      <a:lt2>
        <a:srgbClr val="EAE8E5"/>
      </a:lt2>
      <a:accent1>
        <a:srgbClr val="B5BF00"/>
      </a:accent1>
      <a:accent2>
        <a:srgbClr val="ECE8B2"/>
      </a:accent2>
      <a:accent3>
        <a:srgbClr val="FF6F20"/>
      </a:accent3>
      <a:accent4>
        <a:srgbClr val="E70033"/>
      </a:accent4>
      <a:accent5>
        <a:srgbClr val="C42695"/>
      </a:accent5>
      <a:accent6>
        <a:srgbClr val="8DB9E5"/>
      </a:accent6>
      <a:hlink>
        <a:srgbClr val="012169"/>
      </a:hlink>
      <a:folHlink>
        <a:srgbClr val="A116E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OD-pptmal_16-9_Norsk.potx" id="{C1EA6338-8929-4B33-8783-F608F7C9558B}" vid="{7740DC72-F584-4E0E-8C5B-E1FA228A93AC}"/>
    </a:ext>
  </a:extLst>
</a:theme>
</file>

<file path=ppt/theme/theme6.xml><?xml version="1.0" encoding="utf-8"?>
<a:theme xmlns:a="http://schemas.openxmlformats.org/drawingml/2006/main" name="5_FHI_ny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HI_ny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b-NO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b-NO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FHI_ny 1">
        <a:dk1>
          <a:srgbClr val="537877"/>
        </a:dk1>
        <a:lt1>
          <a:srgbClr val="FFFFFF"/>
        </a:lt1>
        <a:dk2>
          <a:srgbClr val="315A57"/>
        </a:dk2>
        <a:lt2>
          <a:srgbClr val="808080"/>
        </a:lt2>
        <a:accent1>
          <a:srgbClr val="EA1B7E"/>
        </a:accent1>
        <a:accent2>
          <a:srgbClr val="895EA8"/>
        </a:accent2>
        <a:accent3>
          <a:srgbClr val="FFFFFF"/>
        </a:accent3>
        <a:accent4>
          <a:srgbClr val="466565"/>
        </a:accent4>
        <a:accent5>
          <a:srgbClr val="F3ABC0"/>
        </a:accent5>
        <a:accent6>
          <a:srgbClr val="7C5498"/>
        </a:accent6>
        <a:hlink>
          <a:srgbClr val="F16226"/>
        </a:hlink>
        <a:folHlink>
          <a:srgbClr val="BEA63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8.xml><?xml version="1.0" encoding="utf-8"?>
<a:theme xmlns:a="http://schemas.openxmlformats.org/drawingml/2006/main" name="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9.xml><?xml version="1.0" encoding="utf-8"?>
<a:theme xmlns:a="http://schemas.openxmlformats.org/drawingml/2006/main" name="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Override1.xml><?xml version="1.0" encoding="utf-8"?>
<a:themeOverride xmlns:a="http://schemas.openxmlformats.org/drawingml/2006/main">
  <a:clrScheme name="FHI_ny 1">
    <a:dk1>
      <a:srgbClr val="537877"/>
    </a:dk1>
    <a:lt1>
      <a:srgbClr val="FFFFFF"/>
    </a:lt1>
    <a:dk2>
      <a:srgbClr val="315A57"/>
    </a:dk2>
    <a:lt2>
      <a:srgbClr val="808080"/>
    </a:lt2>
    <a:accent1>
      <a:srgbClr val="EA1B7E"/>
    </a:accent1>
    <a:accent2>
      <a:srgbClr val="895EA8"/>
    </a:accent2>
    <a:accent3>
      <a:srgbClr val="FFFFFF"/>
    </a:accent3>
    <a:accent4>
      <a:srgbClr val="466565"/>
    </a:accent4>
    <a:accent5>
      <a:srgbClr val="F3ABC0"/>
    </a:accent5>
    <a:accent6>
      <a:srgbClr val="7C5498"/>
    </a:accent6>
    <a:hlink>
      <a:srgbClr val="F16226"/>
    </a:hlink>
    <a:folHlink>
      <a:srgbClr val="BEA631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DD67D9B0C14304BB7C0C97CDBB7F7B6" ma:contentTypeVersion="1" ma:contentTypeDescription="Opprett et nytt dokument." ma:contentTypeScope="" ma:versionID="646c93a96d3a33da71fab665c374da2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0c0180eee9ee720d3a6c588d300bb7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9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9C93D2D-28B6-439E-8C03-7FDDFC90DB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214F08-7312-42BD-828E-3339BEA2D0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B9E8274-5B4E-4101-98F2-5B238E0176FE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EHelseV2-1</Template>
  <TotalTime>32706</TotalTime>
  <Words>471</Words>
  <Application>Microsoft Office PowerPoint</Application>
  <PresentationFormat>Egendefinert</PresentationFormat>
  <Paragraphs>114</Paragraphs>
  <Slides>4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33" baseType="lpstr">
      <vt:lpstr>Arial</vt:lpstr>
      <vt:lpstr>Calibri</vt:lpstr>
      <vt:lpstr>Calibri Light</vt:lpstr>
      <vt:lpstr>Verdana</vt:lpstr>
      <vt:lpstr>Wingdings 2</vt:lpstr>
      <vt:lpstr>PPTmal_DirektoratetEHelseV2-1</vt:lpstr>
      <vt:lpstr>1_PPTmal_DirektoratetEHelseV2-1</vt:lpstr>
      <vt:lpstr>11_E-helse_PPT-mal_v01_jh</vt:lpstr>
      <vt:lpstr>12_E-helse_PPT-mal_v01_jh</vt:lpstr>
      <vt:lpstr>1_HOD-pptmal_16-9_Norsk</vt:lpstr>
      <vt:lpstr>5_FHI_ny</vt:lpstr>
      <vt:lpstr>2_PPTmal_DirektoratetEHelseV2-1</vt:lpstr>
      <vt:lpstr>4_PPTmal_DirektoratetEHelseV2-1</vt:lpstr>
      <vt:lpstr>5_PPTmal_DirektoratetEHelseV2-1</vt:lpstr>
      <vt:lpstr>6_PPTmal_DirektoratetEHelseV2-1</vt:lpstr>
      <vt:lpstr>7_PPTmal_DirektoratetEHelseV2-1</vt:lpstr>
      <vt:lpstr>14_E-helse_PPT-mal_v01_jh</vt:lpstr>
      <vt:lpstr>15_E-helse_PPT-mal_v01_jh</vt:lpstr>
      <vt:lpstr>E-helse_PPT-mal_v01_jh</vt:lpstr>
      <vt:lpstr>9_PPTmal_DirektoratetEHelseV2-1</vt:lpstr>
      <vt:lpstr>8_PPTmal_DirektoratetEHelseV2-1</vt:lpstr>
      <vt:lpstr>PPTmal_Direktoratet_EhelseV1</vt:lpstr>
      <vt:lpstr>11_PPTmal_DirektoratetEHelseV2-1</vt:lpstr>
      <vt:lpstr>12_PPTmal_DirektoratetEHelseV2-1</vt:lpstr>
      <vt:lpstr>13_PPTmal_DirektoratetEHelseV2-1</vt:lpstr>
      <vt:lpstr>15_PPTmal_DirektoratetEHelseV2-1</vt:lpstr>
      <vt:lpstr>1_E-helse_PPT-mal_v01_jh</vt:lpstr>
      <vt:lpstr>17_PPTmal_DirektoratetEHelseV2-1</vt:lpstr>
      <vt:lpstr>think-cell Slide</vt:lpstr>
      <vt:lpstr>Rapportering fra porteføljekontakter til nasjonalt porteføljekontor i 2017</vt:lpstr>
      <vt:lpstr>Bestillinger og møter våren 2017, s.1</vt:lpstr>
      <vt:lpstr>Bestillinger og møter våren 2017, s. 2</vt:lpstr>
      <vt:lpstr>Bestillinger og møter høsten 2017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hov for samfinansiering 2017</dc:title>
  <dc:creator>Lene Skjervheim</dc:creator>
  <dc:description>template by officeconsult.no</dc:description>
  <cp:lastModifiedBy>Ingvill Eriksen</cp:lastModifiedBy>
  <cp:revision>1131</cp:revision>
  <cp:lastPrinted>2017-01-17T08:15:46Z</cp:lastPrinted>
  <dcterms:created xsi:type="dcterms:W3CDTF">2016-08-26T06:39:52Z</dcterms:created>
  <dcterms:modified xsi:type="dcterms:W3CDTF">2019-04-03T07:5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BDD67D9B0C14304BB7C0C97CDBB7F7B6</vt:lpwstr>
  </property>
</Properties>
</file>